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</p:sldMasterIdLst>
  <p:notesMasterIdLst>
    <p:notesMasterId r:id="rId32"/>
  </p:notesMasterIdLst>
  <p:handoutMasterIdLst>
    <p:handoutMasterId r:id="rId33"/>
  </p:handoutMasterIdLst>
  <p:sldIdLst>
    <p:sldId id="3118" r:id="rId5"/>
    <p:sldId id="10219" r:id="rId6"/>
    <p:sldId id="10220" r:id="rId7"/>
    <p:sldId id="2076137943" r:id="rId8"/>
    <p:sldId id="3092" r:id="rId9"/>
    <p:sldId id="3093" r:id="rId10"/>
    <p:sldId id="10221" r:id="rId11"/>
    <p:sldId id="3097" r:id="rId12"/>
    <p:sldId id="3098" r:id="rId13"/>
    <p:sldId id="10222" r:id="rId14"/>
    <p:sldId id="2076137960" r:id="rId15"/>
    <p:sldId id="10223" r:id="rId16"/>
    <p:sldId id="10232" r:id="rId17"/>
    <p:sldId id="2076137961" r:id="rId18"/>
    <p:sldId id="10224" r:id="rId19"/>
    <p:sldId id="10254" r:id="rId20"/>
    <p:sldId id="2076137962" r:id="rId21"/>
    <p:sldId id="10225" r:id="rId22"/>
    <p:sldId id="10255" r:id="rId23"/>
    <p:sldId id="10234" r:id="rId24"/>
    <p:sldId id="10226" r:id="rId25"/>
    <p:sldId id="10251" r:id="rId26"/>
    <p:sldId id="10227" r:id="rId27"/>
    <p:sldId id="10252" r:id="rId28"/>
    <p:sldId id="10228" r:id="rId29"/>
    <p:sldId id="3114" r:id="rId30"/>
    <p:sldId id="2076137963" r:id="rId31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A5963E-5446-4069-9B52-59F45DF36CB4}" name="Timo Gossen" initials="TG" userId="S::timogoss@microsoft.com::4ec7f864-84f7-407f-b8f9-5c31d0de008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8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  <p:cmAuthor id="4" name="Tracy Tran" initials="TT" lastIdx="9" clrIdx="4">
    <p:extLst>
      <p:ext uri="{19B8F6BF-5375-455C-9EA6-DF929625EA0E}">
        <p15:presenceInfo xmlns:p15="http://schemas.microsoft.com/office/powerpoint/2012/main" userId="S::tracyt@microsoft.com::7b485f56-8fe8-4efc-a1b3-85e720327ac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CBED"/>
    <a:srgbClr val="1392B3"/>
    <a:srgbClr val="0078D4"/>
    <a:srgbClr val="0B5569"/>
    <a:srgbClr val="1392B4"/>
    <a:srgbClr val="191919"/>
    <a:srgbClr val="0B556A"/>
    <a:srgbClr val="30E5D0"/>
    <a:srgbClr val="008575"/>
    <a:srgbClr val="107C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B9ADF5-A468-4B31-BA5F-EB8A17F02ED2}" v="20" dt="2021-03-18T22:33:35.4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58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ntal Ghoshal" userId="9365114f-3662-492a-8f44-5af3c15a2194" providerId="ADAL" clId="{FEB9ADF5-A468-4B31-BA5F-EB8A17F02ED2}"/>
    <pc:docChg chg="modSld">
      <pc:chgData name="Kuntal Ghoshal" userId="9365114f-3662-492a-8f44-5af3c15a2194" providerId="ADAL" clId="{FEB9ADF5-A468-4B31-BA5F-EB8A17F02ED2}" dt="2021-03-18T22:33:35.423" v="19" actId="6549"/>
      <pc:docMkLst>
        <pc:docMk/>
      </pc:docMkLst>
      <pc:sldChg chg="modSp mod">
        <pc:chgData name="Kuntal Ghoshal" userId="9365114f-3662-492a-8f44-5af3c15a2194" providerId="ADAL" clId="{FEB9ADF5-A468-4B31-BA5F-EB8A17F02ED2}" dt="2021-03-18T22:33:35.423" v="19" actId="6549"/>
        <pc:sldMkLst>
          <pc:docMk/>
          <pc:sldMk cId="729672259" sldId="3099"/>
        </pc:sldMkLst>
        <pc:spChg chg="mod">
          <ac:chgData name="Kuntal Ghoshal" userId="9365114f-3662-492a-8f44-5af3c15a2194" providerId="ADAL" clId="{FEB9ADF5-A468-4B31-BA5F-EB8A17F02ED2}" dt="2021-03-18T22:33:35.423" v="19" actId="6549"/>
          <ac:spMkLst>
            <pc:docMk/>
            <pc:sldMk cId="729672259" sldId="3099"/>
            <ac:spMk id="18" creationId="{BF823D94-C1FD-406E-9A03-3FE93116E00E}"/>
          </ac:spMkLst>
        </pc:spChg>
        <pc:spChg chg="mod">
          <ac:chgData name="Kuntal Ghoshal" userId="9365114f-3662-492a-8f44-5af3c15a2194" providerId="ADAL" clId="{FEB9ADF5-A468-4B31-BA5F-EB8A17F02ED2}" dt="2021-03-18T22:33:20.597" v="12" actId="6549"/>
          <ac:spMkLst>
            <pc:docMk/>
            <pc:sldMk cId="729672259" sldId="3099"/>
            <ac:spMk id="23" creationId="{28DB4C61-830A-46DF-957B-CEDDBC355A50}"/>
          </ac:spMkLst>
        </pc:spChg>
      </pc:sldChg>
      <pc:sldChg chg="modSp mod">
        <pc:chgData name="Kuntal Ghoshal" userId="9365114f-3662-492a-8f44-5af3c15a2194" providerId="ADAL" clId="{FEB9ADF5-A468-4B31-BA5F-EB8A17F02ED2}" dt="2021-03-18T22:32:28.719" v="7" actId="20577"/>
        <pc:sldMkLst>
          <pc:docMk/>
          <pc:sldMk cId="519640294" sldId="3118"/>
        </pc:sldMkLst>
        <pc:spChg chg="mod">
          <ac:chgData name="Kuntal Ghoshal" userId="9365114f-3662-492a-8f44-5af3c15a2194" providerId="ADAL" clId="{FEB9ADF5-A468-4B31-BA5F-EB8A17F02ED2}" dt="2021-03-18T22:32:28.719" v="7" actId="20577"/>
          <ac:spMkLst>
            <pc:docMk/>
            <pc:sldMk cId="519640294" sldId="3118"/>
            <ac:spMk id="6" creationId="{A2290B24-4D84-4F01-8125-D2F3E5C765EB}"/>
          </ac:spMkLst>
        </pc:spChg>
      </pc:sldChg>
    </pc:docChg>
  </pc:docChgLst>
  <pc:docChgLst>
    <pc:chgData name="Alok Singh" userId="e697ffd7-6726-47a9-afd8-4832bc3f8006" providerId="ADAL" clId="{A2704885-4289-4665-8875-479CA2CF7764}"/>
    <pc:docChg chg="undo custSel addSld modSld addSection modSection">
      <pc:chgData name="Alok Singh" userId="e697ffd7-6726-47a9-afd8-4832bc3f8006" providerId="ADAL" clId="{A2704885-4289-4665-8875-479CA2CF7764}" dt="2021-03-15T15:35:28.216" v="35" actId="17846"/>
      <pc:docMkLst>
        <pc:docMk/>
      </pc:docMkLst>
      <pc:sldChg chg="modSp add mod">
        <pc:chgData name="Alok Singh" userId="e697ffd7-6726-47a9-afd8-4832bc3f8006" providerId="ADAL" clId="{A2704885-4289-4665-8875-479CA2CF7764}" dt="2021-03-12T14:15:41.033" v="16" actId="1076"/>
        <pc:sldMkLst>
          <pc:docMk/>
          <pc:sldMk cId="1941599682" sldId="257"/>
        </pc:sldMkLst>
        <pc:spChg chg="mod">
          <ac:chgData name="Alok Singh" userId="e697ffd7-6726-47a9-afd8-4832bc3f8006" providerId="ADAL" clId="{A2704885-4289-4665-8875-479CA2CF7764}" dt="2021-03-12T14:15:31.171" v="14" actId="404"/>
          <ac:spMkLst>
            <pc:docMk/>
            <pc:sldMk cId="1941599682" sldId="257"/>
            <ac:spMk id="11" creationId="{CF44DDE8-8BA2-4F61-B823-186EF97C2735}"/>
          </ac:spMkLst>
        </pc:spChg>
        <pc:graphicFrameChg chg="mod">
          <ac:chgData name="Alok Singh" userId="e697ffd7-6726-47a9-afd8-4832bc3f8006" providerId="ADAL" clId="{A2704885-4289-4665-8875-479CA2CF7764}" dt="2021-03-12T14:15:41.033" v="16" actId="1076"/>
          <ac:graphicFrameMkLst>
            <pc:docMk/>
            <pc:sldMk cId="1941599682" sldId="257"/>
            <ac:graphicFrameMk id="6" creationId="{6F66B3A2-7463-4805-BBD7-BDEA5B55CEFD}"/>
          </ac:graphicFrameMkLst>
        </pc:graphicFrameChg>
        <pc:graphicFrameChg chg="mod">
          <ac:chgData name="Alok Singh" userId="e697ffd7-6726-47a9-afd8-4832bc3f8006" providerId="ADAL" clId="{A2704885-4289-4665-8875-479CA2CF7764}" dt="2021-03-12T14:15:36.106" v="15" actId="1076"/>
          <ac:graphicFrameMkLst>
            <pc:docMk/>
            <pc:sldMk cId="1941599682" sldId="257"/>
            <ac:graphicFrameMk id="9" creationId="{F841069D-E835-466F-8B19-6B55473BE773}"/>
          </ac:graphicFrameMkLst>
        </pc:graphicFrameChg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4071222843" sldId="2076137946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1114124699" sldId="2076137947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3461014765" sldId="2076137948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1927633449" sldId="2076137949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247069026" sldId="2076137950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2609727916" sldId="2076137951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4046252123" sldId="2076137952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3923790077" sldId="2076137953"/>
        </pc:sldMkLst>
      </pc:sldChg>
      <pc:sldChg chg="add">
        <pc:chgData name="Alok Singh" userId="e697ffd7-6726-47a9-afd8-4832bc3f8006" providerId="ADAL" clId="{A2704885-4289-4665-8875-479CA2CF7764}" dt="2021-03-15T15:25:52.944" v="17" actId="22"/>
        <pc:sldMkLst>
          <pc:docMk/>
          <pc:sldMk cId="1591774820" sldId="2076137954"/>
        </pc:sldMkLst>
      </pc:sldChg>
      <pc:sldChg chg="add">
        <pc:chgData name="Alok Singh" userId="e697ffd7-6726-47a9-afd8-4832bc3f8006" providerId="ADAL" clId="{A2704885-4289-4665-8875-479CA2CF7764}" dt="2021-03-15T15:26:21.249" v="18" actId="22"/>
        <pc:sldMkLst>
          <pc:docMk/>
          <pc:sldMk cId="2844910277" sldId="2076137955"/>
        </pc:sldMkLst>
      </pc:sldChg>
      <pc:sldChg chg="modSp add mod modShow">
        <pc:chgData name="Alok Singh" userId="e697ffd7-6726-47a9-afd8-4832bc3f8006" providerId="ADAL" clId="{A2704885-4289-4665-8875-479CA2CF7764}" dt="2021-03-15T15:35:14.529" v="33" actId="729"/>
        <pc:sldMkLst>
          <pc:docMk/>
          <pc:sldMk cId="3341464979" sldId="2076137956"/>
        </pc:sldMkLst>
        <pc:spChg chg="mod">
          <ac:chgData name="Alok Singh" userId="e697ffd7-6726-47a9-afd8-4832bc3f8006" providerId="ADAL" clId="{A2704885-4289-4665-8875-479CA2CF7764}" dt="2021-03-15T15:34:53.596" v="30" actId="1076"/>
          <ac:spMkLst>
            <pc:docMk/>
            <pc:sldMk cId="3341464979" sldId="2076137956"/>
            <ac:spMk id="2" creationId="{C4042176-BA89-48C2-958A-A888DDD5365C}"/>
          </ac:spMkLst>
        </pc:spChg>
      </pc:sldChg>
      <pc:sldChg chg="modSp add mod modShow">
        <pc:chgData name="Alok Singh" userId="e697ffd7-6726-47a9-afd8-4832bc3f8006" providerId="ADAL" clId="{A2704885-4289-4665-8875-479CA2CF7764}" dt="2021-03-15T15:35:14.529" v="33" actId="729"/>
        <pc:sldMkLst>
          <pc:docMk/>
          <pc:sldMk cId="1414884490" sldId="2076137957"/>
        </pc:sldMkLst>
        <pc:spChg chg="mod">
          <ac:chgData name="Alok Singh" userId="e697ffd7-6726-47a9-afd8-4832bc3f8006" providerId="ADAL" clId="{A2704885-4289-4665-8875-479CA2CF7764}" dt="2021-03-15T15:35:00.684" v="32" actId="15"/>
          <ac:spMkLst>
            <pc:docMk/>
            <pc:sldMk cId="1414884490" sldId="2076137957"/>
            <ac:spMk id="3" creationId="{3FD940A5-9D89-3547-A1CE-3412A015F3A4}"/>
          </ac:spMkLst>
        </pc:spChg>
      </pc:sldChg>
      <pc:sldChg chg="add mod modShow">
        <pc:chgData name="Alok Singh" userId="e697ffd7-6726-47a9-afd8-4832bc3f8006" providerId="ADAL" clId="{A2704885-4289-4665-8875-479CA2CF7764}" dt="2021-03-15T15:35:14.529" v="33" actId="729"/>
        <pc:sldMkLst>
          <pc:docMk/>
          <pc:sldMk cId="2321474352" sldId="2076137958"/>
        </pc:sldMkLst>
      </pc:sldChg>
      <pc:sldChg chg="add mod modShow">
        <pc:chgData name="Alok Singh" userId="e697ffd7-6726-47a9-afd8-4832bc3f8006" providerId="ADAL" clId="{A2704885-4289-4665-8875-479CA2CF7764}" dt="2021-03-15T15:35:14.529" v="33" actId="729"/>
        <pc:sldMkLst>
          <pc:docMk/>
          <pc:sldMk cId="51564744" sldId="2076137959"/>
        </pc:sldMkLst>
      </pc:sldChg>
      <pc:sldMasterChg chg="addSldLayout modSldLayout">
        <pc:chgData name="Alok Singh" userId="e697ffd7-6726-47a9-afd8-4832bc3f8006" providerId="ADAL" clId="{A2704885-4289-4665-8875-479CA2CF7764}" dt="2021-03-15T15:34:45.097" v="29" actId="22"/>
        <pc:sldMasterMkLst>
          <pc:docMk/>
          <pc:sldMasterMk cId="3588427678" sldId="2147484229"/>
        </pc:sldMasterMkLst>
        <pc:sldLayoutChg chg="add mod">
          <pc:chgData name="Alok Singh" userId="e697ffd7-6726-47a9-afd8-4832bc3f8006" providerId="ADAL" clId="{A2704885-4289-4665-8875-479CA2CF7764}" dt="2021-03-15T15:34:45.097" v="29" actId="22"/>
          <pc:sldLayoutMkLst>
            <pc:docMk/>
            <pc:sldMasterMk cId="3588427678" sldId="2147484229"/>
            <pc:sldLayoutMk cId="238431820" sldId="2147484985"/>
          </pc:sldLayoutMkLst>
        </pc:sldLayoutChg>
        <pc:sldLayoutChg chg="add mod replId">
          <pc:chgData name="Alok Singh" userId="e697ffd7-6726-47a9-afd8-4832bc3f8006" providerId="ADAL" clId="{A2704885-4289-4665-8875-479CA2CF7764}" dt="2021-03-15T15:34:45.097" v="29" actId="22"/>
          <pc:sldLayoutMkLst>
            <pc:docMk/>
            <pc:sldMasterMk cId="3588427678" sldId="2147484229"/>
            <pc:sldLayoutMk cId="2275493997" sldId="2147484986"/>
          </pc:sldLayoutMkLst>
        </pc:sldLayoutChg>
      </pc:sldMasterChg>
    </pc:docChg>
  </pc:docChgLst>
  <pc:docChgLst>
    <pc:chgData name="Alok Singh" userId="S::alsing@microsoft.com::e697ffd7-6726-47a9-afd8-4832bc3f8006" providerId="AD" clId="Web-{4EC0632B-97A2-4E4A-BE3E-B0828776B0A3}"/>
    <pc:docChg chg="modSld">
      <pc:chgData name="Alok Singh" userId="S::alsing@microsoft.com::e697ffd7-6726-47a9-afd8-4832bc3f8006" providerId="AD" clId="Web-{4EC0632B-97A2-4E4A-BE3E-B0828776B0A3}" dt="2021-03-15T15:22:49.018" v="0"/>
      <pc:docMkLst>
        <pc:docMk/>
      </pc:docMkLst>
      <pc:sldChg chg="mod modShow">
        <pc:chgData name="Alok Singh" userId="S::alsing@microsoft.com::e697ffd7-6726-47a9-afd8-4832bc3f8006" providerId="AD" clId="Web-{4EC0632B-97A2-4E4A-BE3E-B0828776B0A3}" dt="2021-03-15T15:22:49.018" v="0"/>
        <pc:sldMkLst>
          <pc:docMk/>
          <pc:sldMk cId="1941599682" sldId="257"/>
        </pc:sldMkLst>
      </pc:sldChg>
    </pc:docChg>
  </pc:docChgLst>
  <pc:docChgLst>
    <pc:chgData name="Timo Gossen" userId="4ec7f864-84f7-407f-b8f9-5c31d0de0089" providerId="ADAL" clId="{FCCAAF6F-5D5D-47BA-8041-A2B57206BEAB}"/>
    <pc:docChg chg="undo redo custSel addSld delSld modSld addMainMaster delMainMaster modMainMaster delSection modSection">
      <pc:chgData name="Timo Gossen" userId="4ec7f864-84f7-407f-b8f9-5c31d0de0089" providerId="ADAL" clId="{FCCAAF6F-5D5D-47BA-8041-A2B57206BEAB}" dt="2021-03-12T14:23:58.739" v="429" actId="700"/>
      <pc:docMkLst>
        <pc:docMk/>
      </pc:docMkLst>
      <pc:sldChg chg="del">
        <pc:chgData name="Timo Gossen" userId="4ec7f864-84f7-407f-b8f9-5c31d0de0089" providerId="ADAL" clId="{FCCAAF6F-5D5D-47BA-8041-A2B57206BEAB}" dt="2021-02-15T12:45:47.352" v="1" actId="47"/>
        <pc:sldMkLst>
          <pc:docMk/>
          <pc:sldMk cId="3125902731" sldId="1607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1094870920" sldId="1735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2345068032" sldId="1786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3071064459" sldId="1795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855631851" sldId="1796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2633977528" sldId="1798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458529531" sldId="1995"/>
        </pc:sldMkLst>
      </pc:sldChg>
      <pc:sldChg chg="add del mod modShow addCm">
        <pc:chgData name="Timo Gossen" userId="4ec7f864-84f7-407f-b8f9-5c31d0de0089" providerId="ADAL" clId="{FCCAAF6F-5D5D-47BA-8041-A2B57206BEAB}" dt="2021-02-15T13:19:45.859" v="243"/>
        <pc:sldMkLst>
          <pc:docMk/>
          <pc:sldMk cId="2567493441" sldId="3087"/>
        </pc:sldMkLst>
      </pc:sldChg>
      <pc:sldChg chg="modSp mod modClrScheme chgLayout">
        <pc:chgData name="Timo Gossen" userId="4ec7f864-84f7-407f-b8f9-5c31d0de0089" providerId="ADAL" clId="{FCCAAF6F-5D5D-47BA-8041-A2B57206BEAB}" dt="2021-02-15T13:03:56.971" v="72" actId="700"/>
        <pc:sldMkLst>
          <pc:docMk/>
          <pc:sldMk cId="3220405261" sldId="3091"/>
        </pc:sldMkLst>
        <pc:spChg chg="mod ord">
          <ac:chgData name="Timo Gossen" userId="4ec7f864-84f7-407f-b8f9-5c31d0de0089" providerId="ADAL" clId="{FCCAAF6F-5D5D-47BA-8041-A2B57206BEAB}" dt="2021-02-15T13:03:56.971" v="72" actId="700"/>
          <ac:spMkLst>
            <pc:docMk/>
            <pc:sldMk cId="3220405261" sldId="3091"/>
            <ac:spMk id="3" creationId="{5D86A125-2BFC-4948-BFF2-1380706147A7}"/>
          </ac:spMkLst>
        </pc:spChg>
        <pc:spChg chg="mod ord">
          <ac:chgData name="Timo Gossen" userId="4ec7f864-84f7-407f-b8f9-5c31d0de0089" providerId="ADAL" clId="{FCCAAF6F-5D5D-47BA-8041-A2B57206BEAB}" dt="2021-02-15T13:03:56.971" v="72" actId="700"/>
          <ac:spMkLst>
            <pc:docMk/>
            <pc:sldMk cId="3220405261" sldId="3091"/>
            <ac:spMk id="4" creationId="{03B4833C-ACC4-4A32-A75A-D05E6B01554A}"/>
          </ac:spMkLst>
        </pc:spChg>
        <pc:picChg chg="mod">
          <ac:chgData name="Timo Gossen" userId="4ec7f864-84f7-407f-b8f9-5c31d0de0089" providerId="ADAL" clId="{FCCAAF6F-5D5D-47BA-8041-A2B57206BEAB}" dt="2021-02-15T12:57:52.429" v="18" actId="14826"/>
          <ac:picMkLst>
            <pc:docMk/>
            <pc:sldMk cId="3220405261" sldId="3091"/>
            <ac:picMk id="38" creationId="{F82C4A60-8F08-400A-846C-DE4887B40CA2}"/>
          </ac:picMkLst>
        </pc:picChg>
      </pc:sldChg>
      <pc:sldChg chg="addSp delSp modSp mod modClrScheme chgLayout">
        <pc:chgData name="Timo Gossen" userId="4ec7f864-84f7-407f-b8f9-5c31d0de0089" providerId="ADAL" clId="{FCCAAF6F-5D5D-47BA-8041-A2B57206BEAB}" dt="2021-03-12T14:23:54.147" v="428" actId="700"/>
        <pc:sldMkLst>
          <pc:docMk/>
          <pc:sldMk cId="217996950" sldId="3092"/>
        </pc:sldMkLst>
        <pc:spChg chg="add del mod">
          <ac:chgData name="Timo Gossen" userId="4ec7f864-84f7-407f-b8f9-5c31d0de0089" providerId="ADAL" clId="{FCCAAF6F-5D5D-47BA-8041-A2B57206BEAB}" dt="2021-02-15T13:07:58.388" v="116" actId="478"/>
          <ac:spMkLst>
            <pc:docMk/>
            <pc:sldMk cId="217996950" sldId="3092"/>
            <ac:spMk id="3" creationId="{3B2B6D2D-D56A-45BB-99C3-44A4DBDCFDB0}"/>
          </ac:spMkLst>
        </pc:spChg>
        <pc:spChg chg="add del mod ord">
          <ac:chgData name="Timo Gossen" userId="4ec7f864-84f7-407f-b8f9-5c31d0de0089" providerId="ADAL" clId="{FCCAAF6F-5D5D-47BA-8041-A2B57206BEAB}" dt="2021-03-12T14:23:54.147" v="428" actId="700"/>
          <ac:spMkLst>
            <pc:docMk/>
            <pc:sldMk cId="217996950" sldId="3092"/>
            <ac:spMk id="5" creationId="{4B7DD339-5C08-46FC-8731-430C31DC143F}"/>
          </ac:spMkLst>
        </pc:spChg>
        <pc:spChg chg="mod ord">
          <ac:chgData name="Timo Gossen" userId="4ec7f864-84f7-407f-b8f9-5c31d0de0089" providerId="ADAL" clId="{FCCAAF6F-5D5D-47BA-8041-A2B57206BEAB}" dt="2021-03-12T14:23:54.147" v="428" actId="700"/>
          <ac:spMkLst>
            <pc:docMk/>
            <pc:sldMk cId="217996950" sldId="3092"/>
            <ac:spMk id="6" creationId="{3858C028-4AE4-4BBE-94FB-B9D03D7ED23F}"/>
          </ac:spMkLst>
        </pc:spChg>
        <pc:spChg chg="mod ord">
          <ac:chgData name="Timo Gossen" userId="4ec7f864-84f7-407f-b8f9-5c31d0de0089" providerId="ADAL" clId="{FCCAAF6F-5D5D-47BA-8041-A2B57206BEAB}" dt="2021-03-12T14:23:54.147" v="428" actId="700"/>
          <ac:spMkLst>
            <pc:docMk/>
            <pc:sldMk cId="217996950" sldId="3092"/>
            <ac:spMk id="7" creationId="{11EF1AD8-8B3A-4133-A284-5E7968D490BC}"/>
          </ac:spMkLst>
        </pc:spChg>
      </pc:sldChg>
      <pc:sldChg chg="modSp mod modClrScheme chgLayout">
        <pc:chgData name="Timo Gossen" userId="4ec7f864-84f7-407f-b8f9-5c31d0de0089" providerId="ADAL" clId="{FCCAAF6F-5D5D-47BA-8041-A2B57206BEAB}" dt="2021-03-12T14:23:58.739" v="429" actId="700"/>
        <pc:sldMkLst>
          <pc:docMk/>
          <pc:sldMk cId="1304563117" sldId="3093"/>
        </pc:sldMkLst>
        <pc:spChg chg="mod ord">
          <ac:chgData name="Timo Gossen" userId="4ec7f864-84f7-407f-b8f9-5c31d0de0089" providerId="ADAL" clId="{FCCAAF6F-5D5D-47BA-8041-A2B57206BEAB}" dt="2021-03-12T14:23:58.739" v="429" actId="700"/>
          <ac:spMkLst>
            <pc:docMk/>
            <pc:sldMk cId="1304563117" sldId="3093"/>
            <ac:spMk id="2" creationId="{98ED09A5-A38C-4A4E-B308-A11A4BF5F4B8}"/>
          </ac:spMkLst>
        </pc:spChg>
        <pc:spChg chg="mod ord">
          <ac:chgData name="Timo Gossen" userId="4ec7f864-84f7-407f-b8f9-5c31d0de0089" providerId="ADAL" clId="{FCCAAF6F-5D5D-47BA-8041-A2B57206BEAB}" dt="2021-03-12T14:23:58.739" v="429" actId="700"/>
          <ac:spMkLst>
            <pc:docMk/>
            <pc:sldMk cId="1304563117" sldId="3093"/>
            <ac:spMk id="3" creationId="{3B610B21-2ECC-44E0-86AF-D74811AF72AC}"/>
          </ac:spMkLst>
        </pc:spChg>
        <pc:spChg chg="mod ord">
          <ac:chgData name="Timo Gossen" userId="4ec7f864-84f7-407f-b8f9-5c31d0de0089" providerId="ADAL" clId="{FCCAAF6F-5D5D-47BA-8041-A2B57206BEAB}" dt="2021-03-12T14:23:58.739" v="429" actId="700"/>
          <ac:spMkLst>
            <pc:docMk/>
            <pc:sldMk cId="1304563117" sldId="3093"/>
            <ac:spMk id="4" creationId="{7CE4786D-C856-4ED1-AD42-4D6D5704E74E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07:52.126" v="114" actId="478"/>
        <pc:sldMkLst>
          <pc:docMk/>
          <pc:sldMk cId="1373380089" sldId="3094"/>
        </pc:sldMkLst>
        <pc:spChg chg="mod ord">
          <ac:chgData name="Timo Gossen" userId="4ec7f864-84f7-407f-b8f9-5c31d0de0089" providerId="ADAL" clId="{FCCAAF6F-5D5D-47BA-8041-A2B57206BEAB}" dt="2021-02-15T13:04:27.028" v="75" actId="700"/>
          <ac:spMkLst>
            <pc:docMk/>
            <pc:sldMk cId="1373380089" sldId="3094"/>
            <ac:spMk id="2" creationId="{556DD703-A0EF-4594-97F9-5C7D4BD08171}"/>
          </ac:spMkLst>
        </pc:spChg>
        <pc:spChg chg="add del mod">
          <ac:chgData name="Timo Gossen" userId="4ec7f864-84f7-407f-b8f9-5c31d0de0089" providerId="ADAL" clId="{FCCAAF6F-5D5D-47BA-8041-A2B57206BEAB}" dt="2021-02-15T13:07:52.126" v="114" actId="478"/>
          <ac:spMkLst>
            <pc:docMk/>
            <pc:sldMk cId="1373380089" sldId="3094"/>
            <ac:spMk id="3" creationId="{DA73786C-0EC2-4802-BDBA-82B7B0D17233}"/>
          </ac:spMkLst>
        </pc:spChg>
        <pc:spChg chg="mod ord">
          <ac:chgData name="Timo Gossen" userId="4ec7f864-84f7-407f-b8f9-5c31d0de0089" providerId="ADAL" clId="{FCCAAF6F-5D5D-47BA-8041-A2B57206BEAB}" dt="2021-02-15T13:04:27.028" v="75" actId="700"/>
          <ac:spMkLst>
            <pc:docMk/>
            <pc:sldMk cId="1373380089" sldId="3094"/>
            <ac:spMk id="4" creationId="{935A8134-1CA7-41F7-A8D5-D29C257B98A9}"/>
          </ac:spMkLst>
        </pc:spChg>
        <pc:spChg chg="del mod">
          <ac:chgData name="Timo Gossen" userId="4ec7f864-84f7-407f-b8f9-5c31d0de0089" providerId="ADAL" clId="{FCCAAF6F-5D5D-47BA-8041-A2B57206BEAB}" dt="2021-02-15T13:05:28.471" v="80" actId="478"/>
          <ac:spMkLst>
            <pc:docMk/>
            <pc:sldMk cId="1373380089" sldId="3094"/>
            <ac:spMk id="5" creationId="{1198A7C0-8409-4EEB-9720-66A7CB6F7354}"/>
          </ac:spMkLst>
        </pc:spChg>
        <pc:spChg chg="mod ord">
          <ac:chgData name="Timo Gossen" userId="4ec7f864-84f7-407f-b8f9-5c31d0de0089" providerId="ADAL" clId="{FCCAAF6F-5D5D-47BA-8041-A2B57206BEAB}" dt="2021-02-15T13:04:27.028" v="75" actId="700"/>
          <ac:spMkLst>
            <pc:docMk/>
            <pc:sldMk cId="1373380089" sldId="3094"/>
            <ac:spMk id="6" creationId="{0F276892-C77C-463C-854D-1FCD1669B56F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07:48.858" v="112" actId="478"/>
        <pc:sldMkLst>
          <pc:docMk/>
          <pc:sldMk cId="3201066170" sldId="3095"/>
        </pc:sldMkLst>
        <pc:spChg chg="del">
          <ac:chgData name="Timo Gossen" userId="4ec7f864-84f7-407f-b8f9-5c31d0de0089" providerId="ADAL" clId="{FCCAAF6F-5D5D-47BA-8041-A2B57206BEAB}" dt="2021-02-15T13:05:41.193" v="82" actId="478"/>
          <ac:spMkLst>
            <pc:docMk/>
            <pc:sldMk cId="3201066170" sldId="3095"/>
            <ac:spMk id="2" creationId="{3AC42D6A-DECC-4503-8FE0-D1A0EB04041D}"/>
          </ac:spMkLst>
        </pc:spChg>
        <pc:spChg chg="add del">
          <ac:chgData name="Timo Gossen" userId="4ec7f864-84f7-407f-b8f9-5c31d0de0089" providerId="ADAL" clId="{FCCAAF6F-5D5D-47BA-8041-A2B57206BEAB}" dt="2021-02-15T13:07:48.858" v="112" actId="478"/>
          <ac:spMkLst>
            <pc:docMk/>
            <pc:sldMk cId="3201066170" sldId="3095"/>
            <ac:spMk id="3" creationId="{13BA885B-3BD2-4F77-A089-3AA8208F6795}"/>
          </ac:spMkLst>
        </pc:spChg>
        <pc:spChg chg="mod ord">
          <ac:chgData name="Timo Gossen" userId="4ec7f864-84f7-407f-b8f9-5c31d0de0089" providerId="ADAL" clId="{FCCAAF6F-5D5D-47BA-8041-A2B57206BEAB}" dt="2021-02-15T13:07:29.928" v="108" actId="700"/>
          <ac:spMkLst>
            <pc:docMk/>
            <pc:sldMk cId="3201066170" sldId="3095"/>
            <ac:spMk id="5" creationId="{36C0E9BC-2233-43DC-9527-1200441FDE79}"/>
          </ac:spMkLst>
        </pc:spChg>
        <pc:spChg chg="mod ord">
          <ac:chgData name="Timo Gossen" userId="4ec7f864-84f7-407f-b8f9-5c31d0de0089" providerId="ADAL" clId="{FCCAAF6F-5D5D-47BA-8041-A2B57206BEAB}" dt="2021-02-15T13:07:29.928" v="108" actId="700"/>
          <ac:spMkLst>
            <pc:docMk/>
            <pc:sldMk cId="3201066170" sldId="3095"/>
            <ac:spMk id="6" creationId="{97DCF861-F29E-492B-81F6-1A8253EFC2E0}"/>
          </ac:spMkLst>
        </pc:spChg>
        <pc:spChg chg="mod ord">
          <ac:chgData name="Timo Gossen" userId="4ec7f864-84f7-407f-b8f9-5c31d0de0089" providerId="ADAL" clId="{FCCAAF6F-5D5D-47BA-8041-A2B57206BEAB}" dt="2021-02-15T13:07:29.928" v="108" actId="700"/>
          <ac:spMkLst>
            <pc:docMk/>
            <pc:sldMk cId="3201066170" sldId="3095"/>
            <ac:spMk id="7" creationId="{98827E68-4D4D-4618-AA29-410CA1FB8F46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08:14.209" v="117" actId="478"/>
        <pc:sldMkLst>
          <pc:docMk/>
          <pc:sldMk cId="1075800851" sldId="3096"/>
        </pc:sldMkLst>
        <pc:spChg chg="del">
          <ac:chgData name="Timo Gossen" userId="4ec7f864-84f7-407f-b8f9-5c31d0de0089" providerId="ADAL" clId="{FCCAAF6F-5D5D-47BA-8041-A2B57206BEAB}" dt="2021-02-15T13:05:44.524" v="84" actId="478"/>
          <ac:spMkLst>
            <pc:docMk/>
            <pc:sldMk cId="1075800851" sldId="3096"/>
            <ac:spMk id="2" creationId="{04AE7A3B-A5F0-4287-9CAF-D86D2D14AAF8}"/>
          </ac:spMkLst>
        </pc:spChg>
        <pc:spChg chg="add del">
          <ac:chgData name="Timo Gossen" userId="4ec7f864-84f7-407f-b8f9-5c31d0de0089" providerId="ADAL" clId="{FCCAAF6F-5D5D-47BA-8041-A2B57206BEAB}" dt="2021-02-15T13:08:14.209" v="117" actId="478"/>
          <ac:spMkLst>
            <pc:docMk/>
            <pc:sldMk cId="1075800851" sldId="3096"/>
            <ac:spMk id="3" creationId="{5BA5B062-2309-467E-8A8D-230D8A17F294}"/>
          </ac:spMkLst>
        </pc:spChg>
        <pc:spChg chg="mod ord">
          <ac:chgData name="Timo Gossen" userId="4ec7f864-84f7-407f-b8f9-5c31d0de0089" providerId="ADAL" clId="{FCCAAF6F-5D5D-47BA-8041-A2B57206BEAB}" dt="2021-02-15T13:07:34.223" v="109" actId="700"/>
          <ac:spMkLst>
            <pc:docMk/>
            <pc:sldMk cId="1075800851" sldId="3096"/>
            <ac:spMk id="5" creationId="{36C0E9BC-2233-43DC-9527-1200441FDE79}"/>
          </ac:spMkLst>
        </pc:spChg>
        <pc:spChg chg="mod ord">
          <ac:chgData name="Timo Gossen" userId="4ec7f864-84f7-407f-b8f9-5c31d0de0089" providerId="ADAL" clId="{FCCAAF6F-5D5D-47BA-8041-A2B57206BEAB}" dt="2021-02-15T13:07:34.223" v="109" actId="700"/>
          <ac:spMkLst>
            <pc:docMk/>
            <pc:sldMk cId="1075800851" sldId="3096"/>
            <ac:spMk id="6" creationId="{97DCF861-F29E-492B-81F6-1A8253EFC2E0}"/>
          </ac:spMkLst>
        </pc:spChg>
        <pc:spChg chg="mod ord">
          <ac:chgData name="Timo Gossen" userId="4ec7f864-84f7-407f-b8f9-5c31d0de0089" providerId="ADAL" clId="{FCCAAF6F-5D5D-47BA-8041-A2B57206BEAB}" dt="2021-02-15T13:07:34.223" v="109" actId="700"/>
          <ac:spMkLst>
            <pc:docMk/>
            <pc:sldMk cId="1075800851" sldId="3096"/>
            <ac:spMk id="7" creationId="{98827E68-4D4D-4618-AA29-410CA1FB8F46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50:14" v="277" actId="207"/>
        <pc:sldMkLst>
          <pc:docMk/>
          <pc:sldMk cId="2216462522" sldId="3097"/>
        </pc:sldMkLst>
        <pc:spChg chg="del">
          <ac:chgData name="Timo Gossen" userId="4ec7f864-84f7-407f-b8f9-5c31d0de0089" providerId="ADAL" clId="{FCCAAF6F-5D5D-47BA-8041-A2B57206BEAB}" dt="2021-02-15T13:07:38.405" v="110" actId="700"/>
          <ac:spMkLst>
            <pc:docMk/>
            <pc:sldMk cId="2216462522" sldId="3097"/>
            <ac:spMk id="2" creationId="{87824593-A883-4028-A8AF-D3AAC892E9B0}"/>
          </ac:spMkLst>
        </pc:spChg>
        <pc:spChg chg="del">
          <ac:chgData name="Timo Gossen" userId="4ec7f864-84f7-407f-b8f9-5c31d0de0089" providerId="ADAL" clId="{FCCAAF6F-5D5D-47BA-8041-A2B57206BEAB}" dt="2021-02-15T13:07:38.405" v="110" actId="700"/>
          <ac:spMkLst>
            <pc:docMk/>
            <pc:sldMk cId="2216462522" sldId="3097"/>
            <ac:spMk id="3" creationId="{2EAC14C9-0BED-4921-8D8A-D03FE73717B9}"/>
          </ac:spMkLst>
        </pc:spChg>
        <pc:spChg chg="del">
          <ac:chgData name="Timo Gossen" userId="4ec7f864-84f7-407f-b8f9-5c31d0de0089" providerId="ADAL" clId="{FCCAAF6F-5D5D-47BA-8041-A2B57206BEAB}" dt="2021-02-15T13:05:49.356" v="86" actId="478"/>
          <ac:spMkLst>
            <pc:docMk/>
            <pc:sldMk cId="2216462522" sldId="3097"/>
            <ac:spMk id="4" creationId="{42D31343-3165-4C65-829C-8FFB9E7D6E79}"/>
          </ac:spMkLst>
        </pc:spChg>
        <pc:spChg chg="add del">
          <ac:chgData name="Timo Gossen" userId="4ec7f864-84f7-407f-b8f9-5c31d0de0089" providerId="ADAL" clId="{FCCAAF6F-5D5D-47BA-8041-A2B57206BEAB}" dt="2021-02-15T13:07:45.735" v="111" actId="478"/>
          <ac:spMkLst>
            <pc:docMk/>
            <pc:sldMk cId="2216462522" sldId="3097"/>
            <ac:spMk id="5" creationId="{8ED02263-156D-4844-8314-2090035DD0E4}"/>
          </ac:spMkLst>
        </pc:spChg>
        <pc:spChg chg="add mod ord">
          <ac:chgData name="Timo Gossen" userId="4ec7f864-84f7-407f-b8f9-5c31d0de0089" providerId="ADAL" clId="{FCCAAF6F-5D5D-47BA-8041-A2B57206BEAB}" dt="2021-02-15T13:07:38.405" v="110" actId="700"/>
          <ac:spMkLst>
            <pc:docMk/>
            <pc:sldMk cId="2216462522" sldId="3097"/>
            <ac:spMk id="6" creationId="{0CD228B8-7DEA-4B7F-A4C6-F26B0D87B572}"/>
          </ac:spMkLst>
        </pc:spChg>
        <pc:spChg chg="add mod ord">
          <ac:chgData name="Timo Gossen" userId="4ec7f864-84f7-407f-b8f9-5c31d0de0089" providerId="ADAL" clId="{FCCAAF6F-5D5D-47BA-8041-A2B57206BEAB}" dt="2021-02-15T13:07:38.405" v="110" actId="700"/>
          <ac:spMkLst>
            <pc:docMk/>
            <pc:sldMk cId="2216462522" sldId="3097"/>
            <ac:spMk id="7" creationId="{CE7BDF86-1474-48B4-92FE-9E81EA196BF6}"/>
          </ac:spMkLst>
        </pc:spChg>
        <pc:spChg chg="mod ord">
          <ac:chgData name="Timo Gossen" userId="4ec7f864-84f7-407f-b8f9-5c31d0de0089" providerId="ADAL" clId="{FCCAAF6F-5D5D-47BA-8041-A2B57206BEAB}" dt="2021-02-15T13:07:38.405" v="110" actId="700"/>
          <ac:spMkLst>
            <pc:docMk/>
            <pc:sldMk cId="2216462522" sldId="3097"/>
            <ac:spMk id="11" creationId="{95E0C5AD-C4DD-4335-8441-DA90B7284FA8}"/>
          </ac:spMkLst>
        </pc:spChg>
        <pc:spChg chg="mod">
          <ac:chgData name="Timo Gossen" userId="4ec7f864-84f7-407f-b8f9-5c31d0de0089" providerId="ADAL" clId="{FCCAAF6F-5D5D-47BA-8041-A2B57206BEAB}" dt="2021-02-15T13:49:32.672" v="264" actId="207"/>
          <ac:spMkLst>
            <pc:docMk/>
            <pc:sldMk cId="2216462522" sldId="3097"/>
            <ac:spMk id="13" creationId="{E1974EAC-B0A7-4FAC-8E76-37FCA45D29AC}"/>
          </ac:spMkLst>
        </pc:spChg>
        <pc:spChg chg="mod">
          <ac:chgData name="Timo Gossen" userId="4ec7f864-84f7-407f-b8f9-5c31d0de0089" providerId="ADAL" clId="{FCCAAF6F-5D5D-47BA-8041-A2B57206BEAB}" dt="2021-02-15T13:49:48.138" v="269" actId="207"/>
          <ac:spMkLst>
            <pc:docMk/>
            <pc:sldMk cId="2216462522" sldId="3097"/>
            <ac:spMk id="15" creationId="{4105D725-CFF1-4943-A7B2-85A46D1C560C}"/>
          </ac:spMkLst>
        </pc:spChg>
        <pc:spChg chg="mod">
          <ac:chgData name="Timo Gossen" userId="4ec7f864-84f7-407f-b8f9-5c31d0de0089" providerId="ADAL" clId="{FCCAAF6F-5D5D-47BA-8041-A2B57206BEAB}" dt="2021-02-15T13:50:14" v="277" actId="207"/>
          <ac:spMkLst>
            <pc:docMk/>
            <pc:sldMk cId="2216462522" sldId="3097"/>
            <ac:spMk id="17" creationId="{0B7FE968-492D-412A-AC6E-08DA1791BA51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08:24.300" v="119" actId="700"/>
        <pc:sldMkLst>
          <pc:docMk/>
          <pc:sldMk cId="108113406" sldId="3098"/>
        </pc:sldMkLst>
        <pc:spChg chg="mod ord">
          <ac:chgData name="Timo Gossen" userId="4ec7f864-84f7-407f-b8f9-5c31d0de0089" providerId="ADAL" clId="{FCCAAF6F-5D5D-47BA-8041-A2B57206BEAB}" dt="2021-02-15T13:08:24.300" v="119" actId="700"/>
          <ac:spMkLst>
            <pc:docMk/>
            <pc:sldMk cId="108113406" sldId="3098"/>
            <ac:spMk id="2" creationId="{9B91C528-0A2A-4F60-8D4B-F7798F08EE0A}"/>
          </ac:spMkLst>
        </pc:spChg>
        <pc:spChg chg="add mod ord">
          <ac:chgData name="Timo Gossen" userId="4ec7f864-84f7-407f-b8f9-5c31d0de0089" providerId="ADAL" clId="{FCCAAF6F-5D5D-47BA-8041-A2B57206BEAB}" dt="2021-02-15T13:08:24.300" v="119" actId="700"/>
          <ac:spMkLst>
            <pc:docMk/>
            <pc:sldMk cId="108113406" sldId="3098"/>
            <ac:spMk id="3" creationId="{BC06335B-C40D-428D-A912-C90CA0AC741E}"/>
          </ac:spMkLst>
        </pc:spChg>
        <pc:spChg chg="mod ord">
          <ac:chgData name="Timo Gossen" userId="4ec7f864-84f7-407f-b8f9-5c31d0de0089" providerId="ADAL" clId="{FCCAAF6F-5D5D-47BA-8041-A2B57206BEAB}" dt="2021-02-15T13:08:24.300" v="119" actId="700"/>
          <ac:spMkLst>
            <pc:docMk/>
            <pc:sldMk cId="108113406" sldId="3098"/>
            <ac:spMk id="4" creationId="{5E55DBB2-79F1-48FD-B1A3-9C68479F15A7}"/>
          </ac:spMkLst>
        </pc:spChg>
        <pc:spChg chg="del">
          <ac:chgData name="Timo Gossen" userId="4ec7f864-84f7-407f-b8f9-5c31d0de0089" providerId="ADAL" clId="{FCCAAF6F-5D5D-47BA-8041-A2B57206BEAB}" dt="2021-02-15T13:08:20.899" v="118" actId="478"/>
          <ac:spMkLst>
            <pc:docMk/>
            <pc:sldMk cId="108113406" sldId="3098"/>
            <ac:spMk id="8" creationId="{EFF0D946-153D-472F-99F1-3DE15C7AA749}"/>
          </ac:spMkLst>
        </pc:spChg>
      </pc:sldChg>
      <pc:sldChg chg="addSp delSp modSp mod modClrScheme chgLayout">
        <pc:chgData name="Timo Gossen" userId="4ec7f864-84f7-407f-b8f9-5c31d0de0089" providerId="ADAL" clId="{FCCAAF6F-5D5D-47BA-8041-A2B57206BEAB}" dt="2021-02-15T13:11:33.820" v="159" actId="478"/>
        <pc:sldMkLst>
          <pc:docMk/>
          <pc:sldMk cId="729672259" sldId="3099"/>
        </pc:sldMkLst>
        <pc:spChg chg="mod ord">
          <ac:chgData name="Timo Gossen" userId="4ec7f864-84f7-407f-b8f9-5c31d0de0089" providerId="ADAL" clId="{FCCAAF6F-5D5D-47BA-8041-A2B57206BEAB}" dt="2021-02-15T13:11:15.254" v="156" actId="700"/>
          <ac:spMkLst>
            <pc:docMk/>
            <pc:sldMk cId="729672259" sldId="3099"/>
            <ac:spMk id="2" creationId="{680D2E64-E22D-48A1-9DA7-0527D4951A02}"/>
          </ac:spMkLst>
        </pc:spChg>
        <pc:spChg chg="add del mod ord">
          <ac:chgData name="Timo Gossen" userId="4ec7f864-84f7-407f-b8f9-5c31d0de0089" providerId="ADAL" clId="{FCCAAF6F-5D5D-47BA-8041-A2B57206BEAB}" dt="2021-02-15T13:11:33.820" v="159" actId="478"/>
          <ac:spMkLst>
            <pc:docMk/>
            <pc:sldMk cId="729672259" sldId="3099"/>
            <ac:spMk id="3" creationId="{66E79CAE-395F-4AA7-8D57-FEFFC21DEA42}"/>
          </ac:spMkLst>
        </pc:spChg>
        <pc:spChg chg="add del mod ord">
          <ac:chgData name="Timo Gossen" userId="4ec7f864-84f7-407f-b8f9-5c31d0de0089" providerId="ADAL" clId="{FCCAAF6F-5D5D-47BA-8041-A2B57206BEAB}" dt="2021-02-15T13:11:15.254" v="156" actId="700"/>
          <ac:spMkLst>
            <pc:docMk/>
            <pc:sldMk cId="729672259" sldId="3099"/>
            <ac:spMk id="4" creationId="{07251B90-E2EF-404E-BAE7-E008D4919261}"/>
          </ac:spMkLst>
        </pc:spChg>
        <pc:spChg chg="add del mod">
          <ac:chgData name="Timo Gossen" userId="4ec7f864-84f7-407f-b8f9-5c31d0de0089" providerId="ADAL" clId="{FCCAAF6F-5D5D-47BA-8041-A2B57206BEAB}" dt="2021-02-15T13:11:23.730" v="157" actId="14100"/>
          <ac:spMkLst>
            <pc:docMk/>
            <pc:sldMk cId="729672259" sldId="3099"/>
            <ac:spMk id="18" creationId="{BF823D94-C1FD-406E-9A03-3FE93116E00E}"/>
          </ac:spMkLst>
        </pc:spChg>
        <pc:spChg chg="del">
          <ac:chgData name="Timo Gossen" userId="4ec7f864-84f7-407f-b8f9-5c31d0de0089" providerId="ADAL" clId="{FCCAAF6F-5D5D-47BA-8041-A2B57206BEAB}" dt="2021-02-15T13:09:06.534" v="121" actId="478"/>
          <ac:spMkLst>
            <pc:docMk/>
            <pc:sldMk cId="729672259" sldId="3099"/>
            <ac:spMk id="22" creationId="{A2FB949A-BEA0-432F-9457-804800E23C9B}"/>
          </ac:spMkLst>
        </pc:spChg>
        <pc:spChg chg="mod">
          <ac:chgData name="Timo Gossen" userId="4ec7f864-84f7-407f-b8f9-5c31d0de0089" providerId="ADAL" clId="{FCCAAF6F-5D5D-47BA-8041-A2B57206BEAB}" dt="2021-02-15T13:11:27.788" v="158" actId="14100"/>
          <ac:spMkLst>
            <pc:docMk/>
            <pc:sldMk cId="729672259" sldId="3099"/>
            <ac:spMk id="23" creationId="{28DB4C61-830A-46DF-957B-CEDDBC355A50}"/>
          </ac:spMkLst>
        </pc:spChg>
        <pc:spChg chg="mod ord">
          <ac:chgData name="Timo Gossen" userId="4ec7f864-84f7-407f-b8f9-5c31d0de0089" providerId="ADAL" clId="{FCCAAF6F-5D5D-47BA-8041-A2B57206BEAB}" dt="2021-02-15T13:11:15.254" v="156" actId="700"/>
          <ac:spMkLst>
            <pc:docMk/>
            <pc:sldMk cId="729672259" sldId="3099"/>
            <ac:spMk id="25" creationId="{AC0718F1-B6AB-4D14-9351-36A3F4FA4CE7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1:53.322" v="161" actId="478"/>
        <pc:sldMkLst>
          <pc:docMk/>
          <pc:sldMk cId="2466629412" sldId="3100"/>
        </pc:sldMkLst>
        <pc:spChg chg="mod ord">
          <ac:chgData name="Timo Gossen" userId="4ec7f864-84f7-407f-b8f9-5c31d0de0089" providerId="ADAL" clId="{FCCAAF6F-5D5D-47BA-8041-A2B57206BEAB}" dt="2021-02-15T13:11:51.388" v="160" actId="700"/>
          <ac:spMkLst>
            <pc:docMk/>
            <pc:sldMk cId="2466629412" sldId="3100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1:51.388" v="160" actId="700"/>
          <ac:spMkLst>
            <pc:docMk/>
            <pc:sldMk cId="2466629412" sldId="3100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1:51.388" v="160" actId="700"/>
          <ac:spMkLst>
            <pc:docMk/>
            <pc:sldMk cId="2466629412" sldId="3100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1:53.322" v="161" actId="478"/>
          <ac:spMkLst>
            <pc:docMk/>
            <pc:sldMk cId="2466629412" sldId="3100"/>
            <ac:spMk id="5" creationId="{B7682BDA-B6DF-42A1-968A-F4CD3884351D}"/>
          </ac:spMkLst>
        </pc:spChg>
      </pc:sldChg>
      <pc:sldChg chg="delSp mod">
        <pc:chgData name="Timo Gossen" userId="4ec7f864-84f7-407f-b8f9-5c31d0de0089" providerId="ADAL" clId="{FCCAAF6F-5D5D-47BA-8041-A2B57206BEAB}" dt="2021-02-15T13:51:45.408" v="278" actId="478"/>
        <pc:sldMkLst>
          <pc:docMk/>
          <pc:sldMk cId="1900928765" sldId="3102"/>
        </pc:sldMkLst>
        <pc:spChg chg="del">
          <ac:chgData name="Timo Gossen" userId="4ec7f864-84f7-407f-b8f9-5c31d0de0089" providerId="ADAL" clId="{FCCAAF6F-5D5D-47BA-8041-A2B57206BEAB}" dt="2021-02-15T13:51:45.408" v="278" actId="478"/>
          <ac:spMkLst>
            <pc:docMk/>
            <pc:sldMk cId="1900928765" sldId="3102"/>
            <ac:spMk id="4" creationId="{8EA905E9-BDA7-44BA-811B-EF734B54DE28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13:55.540" v="182" actId="478"/>
        <pc:sldMkLst>
          <pc:docMk/>
          <pc:sldMk cId="2506490465" sldId="3103"/>
        </pc:sldMkLst>
        <pc:spChg chg="mod ord">
          <ac:chgData name="Timo Gossen" userId="4ec7f864-84f7-407f-b8f9-5c31d0de0089" providerId="ADAL" clId="{FCCAAF6F-5D5D-47BA-8041-A2B57206BEAB}" dt="2021-02-15T13:13:51.710" v="180" actId="700"/>
          <ac:spMkLst>
            <pc:docMk/>
            <pc:sldMk cId="2506490465" sldId="3103"/>
            <ac:spMk id="2" creationId="{0CBD884A-BE35-40A9-B69C-3738D0C3C4E2}"/>
          </ac:spMkLst>
        </pc:spChg>
        <pc:spChg chg="add del mod ord">
          <ac:chgData name="Timo Gossen" userId="4ec7f864-84f7-407f-b8f9-5c31d0de0089" providerId="ADAL" clId="{FCCAAF6F-5D5D-47BA-8041-A2B57206BEAB}" dt="2021-02-15T13:13:55.540" v="182" actId="478"/>
          <ac:spMkLst>
            <pc:docMk/>
            <pc:sldMk cId="2506490465" sldId="3103"/>
            <ac:spMk id="3" creationId="{C12577DF-C61D-43BD-BF24-5B01490B3E9B}"/>
          </ac:spMkLst>
        </pc:spChg>
        <pc:spChg chg="mod ord">
          <ac:chgData name="Timo Gossen" userId="4ec7f864-84f7-407f-b8f9-5c31d0de0089" providerId="ADAL" clId="{FCCAAF6F-5D5D-47BA-8041-A2B57206BEAB}" dt="2021-02-15T13:13:51.710" v="180" actId="700"/>
          <ac:spMkLst>
            <pc:docMk/>
            <pc:sldMk cId="2506490465" sldId="3103"/>
            <ac:spMk id="5" creationId="{9556FE30-6B1E-4EC3-A785-8DBDDD347AFB}"/>
          </ac:spMkLst>
        </pc:spChg>
        <pc:spChg chg="del">
          <ac:chgData name="Timo Gossen" userId="4ec7f864-84f7-407f-b8f9-5c31d0de0089" providerId="ADAL" clId="{FCCAAF6F-5D5D-47BA-8041-A2B57206BEAB}" dt="2021-02-15T13:13:53.485" v="181" actId="478"/>
          <ac:spMkLst>
            <pc:docMk/>
            <pc:sldMk cId="2506490465" sldId="3103"/>
            <ac:spMk id="6" creationId="{92A39419-22D7-4EF8-8631-02433904C2D7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4:26.264" v="189" actId="478"/>
        <pc:sldMkLst>
          <pc:docMk/>
          <pc:sldMk cId="982233179" sldId="3104"/>
        </pc:sldMkLst>
        <pc:spChg chg="mod ord">
          <ac:chgData name="Timo Gossen" userId="4ec7f864-84f7-407f-b8f9-5c31d0de0089" providerId="ADAL" clId="{FCCAAF6F-5D5D-47BA-8041-A2B57206BEAB}" dt="2021-02-15T13:14:23.056" v="188" actId="700"/>
          <ac:spMkLst>
            <pc:docMk/>
            <pc:sldMk cId="982233179" sldId="3104"/>
            <ac:spMk id="2" creationId="{9A5F7442-15DF-4255-92A0-FB16CC426038}"/>
          </ac:spMkLst>
        </pc:spChg>
        <pc:spChg chg="del">
          <ac:chgData name="Timo Gossen" userId="4ec7f864-84f7-407f-b8f9-5c31d0de0089" providerId="ADAL" clId="{FCCAAF6F-5D5D-47BA-8041-A2B57206BEAB}" dt="2021-02-15T13:14:26.264" v="189" actId="478"/>
          <ac:spMkLst>
            <pc:docMk/>
            <pc:sldMk cId="982233179" sldId="3104"/>
            <ac:spMk id="3" creationId="{B6A2A2E9-C8A2-43F0-9AA4-3C6230478684}"/>
          </ac:spMkLst>
        </pc:spChg>
        <pc:spChg chg="mod ord">
          <ac:chgData name="Timo Gossen" userId="4ec7f864-84f7-407f-b8f9-5c31d0de0089" providerId="ADAL" clId="{FCCAAF6F-5D5D-47BA-8041-A2B57206BEAB}" dt="2021-02-15T13:14:23.056" v="188" actId="700"/>
          <ac:spMkLst>
            <pc:docMk/>
            <pc:sldMk cId="982233179" sldId="3104"/>
            <ac:spMk id="8" creationId="{57122B43-7D6F-4993-B0A9-459BDFFA53EA}"/>
          </ac:spMkLst>
        </pc:spChg>
        <pc:graphicFrameChg chg="mod ord modGraphic">
          <ac:chgData name="Timo Gossen" userId="4ec7f864-84f7-407f-b8f9-5c31d0de0089" providerId="ADAL" clId="{FCCAAF6F-5D5D-47BA-8041-A2B57206BEAB}" dt="2021-02-15T13:14:23.056" v="188" actId="700"/>
          <ac:graphicFrameMkLst>
            <pc:docMk/>
            <pc:sldMk cId="982233179" sldId="3104"/>
            <ac:graphicFrameMk id="4" creationId="{1504D83B-2AE6-42C4-BF06-D4C5CB157978}"/>
          </ac:graphicFrameMkLst>
        </pc:graphicFrameChg>
      </pc:sldChg>
      <pc:sldChg chg="addSp delSp modSp mod chgLayout">
        <pc:chgData name="Timo Gossen" userId="4ec7f864-84f7-407f-b8f9-5c31d0de0089" providerId="ADAL" clId="{FCCAAF6F-5D5D-47BA-8041-A2B57206BEAB}" dt="2021-02-15T13:17:38.180" v="227" actId="478"/>
        <pc:sldMkLst>
          <pc:docMk/>
          <pc:sldMk cId="3858638781" sldId="3105"/>
        </pc:sldMkLst>
        <pc:spChg chg="mod ord">
          <ac:chgData name="Timo Gossen" userId="4ec7f864-84f7-407f-b8f9-5c31d0de0089" providerId="ADAL" clId="{FCCAAF6F-5D5D-47BA-8041-A2B57206BEAB}" dt="2021-02-15T13:17:30.371" v="222" actId="700"/>
          <ac:spMkLst>
            <pc:docMk/>
            <pc:sldMk cId="3858638781" sldId="3105"/>
            <ac:spMk id="2" creationId="{6EA91EA2-19CC-46A8-A826-70BB204EAA99}"/>
          </ac:spMkLst>
        </pc:spChg>
        <pc:spChg chg="del">
          <ac:chgData name="Timo Gossen" userId="4ec7f864-84f7-407f-b8f9-5c31d0de0089" providerId="ADAL" clId="{FCCAAF6F-5D5D-47BA-8041-A2B57206BEAB}" dt="2021-02-15T13:17:38.180" v="227" actId="478"/>
          <ac:spMkLst>
            <pc:docMk/>
            <pc:sldMk cId="3858638781" sldId="3105"/>
            <ac:spMk id="3" creationId="{9447DADD-D156-4AD4-8BCA-2FA0140CA00F}"/>
          </ac:spMkLst>
        </pc:spChg>
        <pc:spChg chg="mod ord">
          <ac:chgData name="Timo Gossen" userId="4ec7f864-84f7-407f-b8f9-5c31d0de0089" providerId="ADAL" clId="{FCCAAF6F-5D5D-47BA-8041-A2B57206BEAB}" dt="2021-02-15T13:17:30.371" v="222" actId="700"/>
          <ac:spMkLst>
            <pc:docMk/>
            <pc:sldMk cId="3858638781" sldId="3105"/>
            <ac:spMk id="4" creationId="{540E8D7C-3971-4EB2-804A-45820A959E26}"/>
          </ac:spMkLst>
        </pc:spChg>
        <pc:spChg chg="del">
          <ac:chgData name="Timo Gossen" userId="4ec7f864-84f7-407f-b8f9-5c31d0de0089" providerId="ADAL" clId="{FCCAAF6F-5D5D-47BA-8041-A2B57206BEAB}" dt="2021-02-15T13:17:36.291" v="226" actId="478"/>
          <ac:spMkLst>
            <pc:docMk/>
            <pc:sldMk cId="3858638781" sldId="3105"/>
            <ac:spMk id="5" creationId="{1CE22935-F9E7-4AE3-9358-D3DDA4647040}"/>
          </ac:spMkLst>
        </pc:spChg>
        <pc:spChg chg="add del mod ord">
          <ac:chgData name="Timo Gossen" userId="4ec7f864-84f7-407f-b8f9-5c31d0de0089" providerId="ADAL" clId="{FCCAAF6F-5D5D-47BA-8041-A2B57206BEAB}" dt="2021-02-15T13:17:33.410" v="224" actId="478"/>
          <ac:spMkLst>
            <pc:docMk/>
            <pc:sldMk cId="3858638781" sldId="3105"/>
            <ac:spMk id="6" creationId="{6E222D96-6A4E-490D-8907-FD5235E29DE0}"/>
          </ac:spMkLst>
        </pc:spChg>
        <pc:spChg chg="del">
          <ac:chgData name="Timo Gossen" userId="4ec7f864-84f7-407f-b8f9-5c31d0de0089" providerId="ADAL" clId="{FCCAAF6F-5D5D-47BA-8041-A2B57206BEAB}" dt="2021-02-15T13:17:28.310" v="221" actId="478"/>
          <ac:spMkLst>
            <pc:docMk/>
            <pc:sldMk cId="3858638781" sldId="3105"/>
            <ac:spMk id="7" creationId="{BD241867-F3EA-4E20-BC40-4EE7F38F0270}"/>
          </ac:spMkLst>
        </pc:spChg>
        <pc:spChg chg="add">
          <ac:chgData name="Timo Gossen" userId="4ec7f864-84f7-407f-b8f9-5c31d0de0089" providerId="ADAL" clId="{FCCAAF6F-5D5D-47BA-8041-A2B57206BEAB}" dt="2021-02-15T13:17:34.556" v="225" actId="22"/>
          <ac:spMkLst>
            <pc:docMk/>
            <pc:sldMk cId="3858638781" sldId="3105"/>
            <ac:spMk id="8" creationId="{8EB5F531-7977-4E8F-AE06-BCC3C982B84A}"/>
          </ac:spMkLst>
        </pc:spChg>
        <pc:graphicFrameChg chg="del">
          <ac:chgData name="Timo Gossen" userId="4ec7f864-84f7-407f-b8f9-5c31d0de0089" providerId="ADAL" clId="{FCCAAF6F-5D5D-47BA-8041-A2B57206BEAB}" dt="2021-02-15T13:17:32.032" v="223" actId="478"/>
          <ac:graphicFrameMkLst>
            <pc:docMk/>
            <pc:sldMk cId="3858638781" sldId="3105"/>
            <ac:graphicFrameMk id="9" creationId="{E3BBF86E-AAEB-4F9E-AB08-A590FB3379C7}"/>
          </ac:graphicFrameMkLst>
        </pc:graphicFrameChg>
      </pc:sldChg>
      <pc:sldChg chg="delSp modSp mod chgLayout">
        <pc:chgData name="Timo Gossen" userId="4ec7f864-84f7-407f-b8f9-5c31d0de0089" providerId="ADAL" clId="{FCCAAF6F-5D5D-47BA-8041-A2B57206BEAB}" dt="2021-02-15T13:14:04.197" v="184" actId="478"/>
        <pc:sldMkLst>
          <pc:docMk/>
          <pc:sldMk cId="1481025963" sldId="3106"/>
        </pc:sldMkLst>
        <pc:spChg chg="mod ord">
          <ac:chgData name="Timo Gossen" userId="4ec7f864-84f7-407f-b8f9-5c31d0de0089" providerId="ADAL" clId="{FCCAAF6F-5D5D-47BA-8041-A2B57206BEAB}" dt="2021-02-15T13:14:01.806" v="183" actId="700"/>
          <ac:spMkLst>
            <pc:docMk/>
            <pc:sldMk cId="1481025963" sldId="3106"/>
            <ac:spMk id="2" creationId="{885BCB74-2647-404C-9651-B5C67CE35C8A}"/>
          </ac:spMkLst>
        </pc:spChg>
        <pc:spChg chg="del">
          <ac:chgData name="Timo Gossen" userId="4ec7f864-84f7-407f-b8f9-5c31d0de0089" providerId="ADAL" clId="{FCCAAF6F-5D5D-47BA-8041-A2B57206BEAB}" dt="2021-02-15T13:14:04.197" v="184" actId="478"/>
          <ac:spMkLst>
            <pc:docMk/>
            <pc:sldMk cId="1481025963" sldId="3106"/>
            <ac:spMk id="3" creationId="{CE15B9B3-B74D-4E8C-8A60-A6FE59D3AEB4}"/>
          </ac:spMkLst>
        </pc:spChg>
        <pc:spChg chg="mod ord">
          <ac:chgData name="Timo Gossen" userId="4ec7f864-84f7-407f-b8f9-5c31d0de0089" providerId="ADAL" clId="{FCCAAF6F-5D5D-47BA-8041-A2B57206BEAB}" dt="2021-02-15T13:14:01.806" v="183" actId="700"/>
          <ac:spMkLst>
            <pc:docMk/>
            <pc:sldMk cId="1481025963" sldId="3106"/>
            <ac:spMk id="4" creationId="{3D161869-EF4B-48A2-B3C3-37439C789949}"/>
          </ac:spMkLst>
        </pc:spChg>
        <pc:graphicFrameChg chg="mod ord modGraphic">
          <ac:chgData name="Timo Gossen" userId="4ec7f864-84f7-407f-b8f9-5c31d0de0089" providerId="ADAL" clId="{FCCAAF6F-5D5D-47BA-8041-A2B57206BEAB}" dt="2021-02-15T13:14:01.806" v="183" actId="700"/>
          <ac:graphicFrameMkLst>
            <pc:docMk/>
            <pc:sldMk cId="1481025963" sldId="3106"/>
            <ac:graphicFrameMk id="5" creationId="{0DFCD791-5955-4EFC-A15B-7307BB3173A7}"/>
          </ac:graphicFrameMkLst>
        </pc:graphicFrameChg>
      </pc:sldChg>
      <pc:sldChg chg="delSp modSp mod chgLayout">
        <pc:chgData name="Timo Gossen" userId="4ec7f864-84f7-407f-b8f9-5c31d0de0089" providerId="ADAL" clId="{FCCAAF6F-5D5D-47BA-8041-A2B57206BEAB}" dt="2021-02-15T13:18:13.614" v="237" actId="700"/>
        <pc:sldMkLst>
          <pc:docMk/>
          <pc:sldMk cId="29538855" sldId="3108"/>
        </pc:sldMkLst>
        <pc:spChg chg="mod ord">
          <ac:chgData name="Timo Gossen" userId="4ec7f864-84f7-407f-b8f9-5c31d0de0089" providerId="ADAL" clId="{FCCAAF6F-5D5D-47BA-8041-A2B57206BEAB}" dt="2021-02-15T13:18:13.614" v="237" actId="700"/>
          <ac:spMkLst>
            <pc:docMk/>
            <pc:sldMk cId="29538855" sldId="3108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8:13.614" v="237" actId="700"/>
          <ac:spMkLst>
            <pc:docMk/>
            <pc:sldMk cId="29538855" sldId="3108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8:13.614" v="237" actId="700"/>
          <ac:spMkLst>
            <pc:docMk/>
            <pc:sldMk cId="29538855" sldId="3108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8:11.573" v="236" actId="478"/>
          <ac:spMkLst>
            <pc:docMk/>
            <pc:sldMk cId="29538855" sldId="3108"/>
            <ac:spMk id="5" creationId="{42CA903D-9085-4456-822A-398220B4F238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7:54.006" v="231" actId="478"/>
        <pc:sldMkLst>
          <pc:docMk/>
          <pc:sldMk cId="1762873890" sldId="3109"/>
        </pc:sldMkLst>
        <pc:spChg chg="mod ord">
          <ac:chgData name="Timo Gossen" userId="4ec7f864-84f7-407f-b8f9-5c31d0de0089" providerId="ADAL" clId="{FCCAAF6F-5D5D-47BA-8041-A2B57206BEAB}" dt="2021-02-15T13:17:52.479" v="230" actId="700"/>
          <ac:spMkLst>
            <pc:docMk/>
            <pc:sldMk cId="1762873890" sldId="3109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7:52.479" v="230" actId="700"/>
          <ac:spMkLst>
            <pc:docMk/>
            <pc:sldMk cId="1762873890" sldId="3109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7:52.479" v="230" actId="700"/>
          <ac:spMkLst>
            <pc:docMk/>
            <pc:sldMk cId="1762873890" sldId="3109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7:54.006" v="231" actId="478"/>
          <ac:spMkLst>
            <pc:docMk/>
            <pc:sldMk cId="1762873890" sldId="3109"/>
            <ac:spMk id="5" creationId="{8D93FBCA-8A94-4426-9421-2B93EFD27CFA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8:08.063" v="235" actId="700"/>
        <pc:sldMkLst>
          <pc:docMk/>
          <pc:sldMk cId="1150710527" sldId="3110"/>
        </pc:sldMkLst>
        <pc:spChg chg="mod ord">
          <ac:chgData name="Timo Gossen" userId="4ec7f864-84f7-407f-b8f9-5c31d0de0089" providerId="ADAL" clId="{FCCAAF6F-5D5D-47BA-8041-A2B57206BEAB}" dt="2021-02-15T13:18:08.063" v="235" actId="700"/>
          <ac:spMkLst>
            <pc:docMk/>
            <pc:sldMk cId="1150710527" sldId="3110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8:08.063" v="235" actId="700"/>
          <ac:spMkLst>
            <pc:docMk/>
            <pc:sldMk cId="1150710527" sldId="3110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8:08.063" v="235" actId="700"/>
          <ac:spMkLst>
            <pc:docMk/>
            <pc:sldMk cId="1150710527" sldId="3110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8:05.454" v="234" actId="478"/>
          <ac:spMkLst>
            <pc:docMk/>
            <pc:sldMk cId="1150710527" sldId="3110"/>
            <ac:spMk id="5" creationId="{52B5CE75-3DA6-4BB2-A38A-B21AD78F6030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16:39.133" v="216" actId="478"/>
        <pc:sldMkLst>
          <pc:docMk/>
          <pc:sldMk cId="1854207293" sldId="3111"/>
        </pc:sldMkLst>
        <pc:spChg chg="mod ord">
          <ac:chgData name="Timo Gossen" userId="4ec7f864-84f7-407f-b8f9-5c31d0de0089" providerId="ADAL" clId="{FCCAAF6F-5D5D-47BA-8041-A2B57206BEAB}" dt="2021-02-15T13:16:23.936" v="211" actId="700"/>
          <ac:spMkLst>
            <pc:docMk/>
            <pc:sldMk cId="1854207293" sldId="3111"/>
            <ac:spMk id="2" creationId="{221BA93B-8FF7-4E5C-8D0C-B629ED7A15DE}"/>
          </ac:spMkLst>
        </pc:spChg>
        <pc:spChg chg="del mod ord">
          <ac:chgData name="Timo Gossen" userId="4ec7f864-84f7-407f-b8f9-5c31d0de0089" providerId="ADAL" clId="{FCCAAF6F-5D5D-47BA-8041-A2B57206BEAB}" dt="2021-02-15T13:16:37.307" v="215" actId="478"/>
          <ac:spMkLst>
            <pc:docMk/>
            <pc:sldMk cId="1854207293" sldId="3111"/>
            <ac:spMk id="3" creationId="{BEF9094C-6580-42E2-87AD-FE1D803EF0D8}"/>
          </ac:spMkLst>
        </pc:spChg>
        <pc:spChg chg="mod ord">
          <ac:chgData name="Timo Gossen" userId="4ec7f864-84f7-407f-b8f9-5c31d0de0089" providerId="ADAL" clId="{FCCAAF6F-5D5D-47BA-8041-A2B57206BEAB}" dt="2021-02-15T13:16:35.056" v="213" actId="20577"/>
          <ac:spMkLst>
            <pc:docMk/>
            <pc:sldMk cId="1854207293" sldId="3111"/>
            <ac:spMk id="4" creationId="{185F8348-72BF-4429-B87D-E28F670F994C}"/>
          </ac:spMkLst>
        </pc:spChg>
        <pc:spChg chg="add">
          <ac:chgData name="Timo Gossen" userId="4ec7f864-84f7-407f-b8f9-5c31d0de0089" providerId="ADAL" clId="{FCCAAF6F-5D5D-47BA-8041-A2B57206BEAB}" dt="2021-02-15T13:16:30.374" v="212" actId="22"/>
          <ac:spMkLst>
            <pc:docMk/>
            <pc:sldMk cId="1854207293" sldId="3111"/>
            <ac:spMk id="6" creationId="{DA271AD6-D169-4419-8BAE-FA1A5A7C14EC}"/>
          </ac:spMkLst>
        </pc:spChg>
        <pc:spChg chg="add del mod">
          <ac:chgData name="Timo Gossen" userId="4ec7f864-84f7-407f-b8f9-5c31d0de0089" providerId="ADAL" clId="{FCCAAF6F-5D5D-47BA-8041-A2B57206BEAB}" dt="2021-02-15T13:16:39.133" v="216" actId="478"/>
          <ac:spMkLst>
            <pc:docMk/>
            <pc:sldMk cId="1854207293" sldId="3111"/>
            <ac:spMk id="8" creationId="{5A623522-A806-46BE-8457-5452A983F48A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7:46.311" v="229" actId="478"/>
        <pc:sldMkLst>
          <pc:docMk/>
          <pc:sldMk cId="2970108321" sldId="3112"/>
        </pc:sldMkLst>
        <pc:spChg chg="mod ord">
          <ac:chgData name="Timo Gossen" userId="4ec7f864-84f7-407f-b8f9-5c31d0de0089" providerId="ADAL" clId="{FCCAAF6F-5D5D-47BA-8041-A2B57206BEAB}" dt="2021-02-15T13:17:44.404" v="228" actId="700"/>
          <ac:spMkLst>
            <pc:docMk/>
            <pc:sldMk cId="2970108321" sldId="3112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7:44.404" v="228" actId="700"/>
          <ac:spMkLst>
            <pc:docMk/>
            <pc:sldMk cId="2970108321" sldId="3112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7:44.404" v="228" actId="700"/>
          <ac:spMkLst>
            <pc:docMk/>
            <pc:sldMk cId="2970108321" sldId="3112"/>
            <ac:spMk id="5" creationId="{CE8590C2-7AA1-4DC2-9F11-5CCE7FA3BD72}"/>
          </ac:spMkLst>
        </pc:spChg>
        <pc:spChg chg="del">
          <ac:chgData name="Timo Gossen" userId="4ec7f864-84f7-407f-b8f9-5c31d0de0089" providerId="ADAL" clId="{FCCAAF6F-5D5D-47BA-8041-A2B57206BEAB}" dt="2021-02-15T13:17:46.311" v="229" actId="478"/>
          <ac:spMkLst>
            <pc:docMk/>
            <pc:sldMk cId="2970108321" sldId="3112"/>
            <ac:spMk id="11" creationId="{C5AE8EF7-BFB9-4494-8E17-A2D6C8E1096B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14:40.441" v="193" actId="478"/>
        <pc:sldMkLst>
          <pc:docMk/>
          <pc:sldMk cId="871635068" sldId="3114"/>
        </pc:sldMkLst>
        <pc:spChg chg="mod ord">
          <ac:chgData name="Timo Gossen" userId="4ec7f864-84f7-407f-b8f9-5c31d0de0089" providerId="ADAL" clId="{FCCAAF6F-5D5D-47BA-8041-A2B57206BEAB}" dt="2021-02-15T13:14:35.586" v="192" actId="700"/>
          <ac:spMkLst>
            <pc:docMk/>
            <pc:sldMk cId="871635068" sldId="3114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4:35.586" v="192" actId="700"/>
          <ac:spMkLst>
            <pc:docMk/>
            <pc:sldMk cId="871635068" sldId="3114"/>
            <ac:spMk id="3" creationId="{B3C243B8-54E7-412D-9FE3-6A538909BF36}"/>
          </ac:spMkLst>
        </pc:spChg>
        <pc:spChg chg="add del">
          <ac:chgData name="Timo Gossen" userId="4ec7f864-84f7-407f-b8f9-5c31d0de0089" providerId="ADAL" clId="{FCCAAF6F-5D5D-47BA-8041-A2B57206BEAB}" dt="2021-02-15T13:14:35.586" v="192" actId="700"/>
          <ac:spMkLst>
            <pc:docMk/>
            <pc:sldMk cId="871635068" sldId="3114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4:40.441" v="193" actId="478"/>
          <ac:spMkLst>
            <pc:docMk/>
            <pc:sldMk cId="871635068" sldId="3114"/>
            <ac:spMk id="5" creationId="{45D0B4B9-5A4B-4DA6-9F53-28FCD1BBFB7B}"/>
          </ac:spMkLst>
        </pc:spChg>
        <pc:spChg chg="add del mod ord">
          <ac:chgData name="Timo Gossen" userId="4ec7f864-84f7-407f-b8f9-5c31d0de0089" providerId="ADAL" clId="{FCCAAF6F-5D5D-47BA-8041-A2B57206BEAB}" dt="2021-02-15T13:14:35.586" v="192" actId="700"/>
          <ac:spMkLst>
            <pc:docMk/>
            <pc:sldMk cId="871635068" sldId="3114"/>
            <ac:spMk id="6" creationId="{8CB69E30-B753-4C91-9DAA-18D60BA70791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8:22.555" v="239" actId="478"/>
        <pc:sldMkLst>
          <pc:docMk/>
          <pc:sldMk cId="1113925100" sldId="3115"/>
        </pc:sldMkLst>
        <pc:spChg chg="mod ord">
          <ac:chgData name="Timo Gossen" userId="4ec7f864-84f7-407f-b8f9-5c31d0de0089" providerId="ADAL" clId="{FCCAAF6F-5D5D-47BA-8041-A2B57206BEAB}" dt="2021-02-15T13:18:21.104" v="238" actId="700"/>
          <ac:spMkLst>
            <pc:docMk/>
            <pc:sldMk cId="1113925100" sldId="3115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8:21.104" v="238" actId="700"/>
          <ac:spMkLst>
            <pc:docMk/>
            <pc:sldMk cId="1113925100" sldId="3115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8:21.104" v="238" actId="700"/>
          <ac:spMkLst>
            <pc:docMk/>
            <pc:sldMk cId="1113925100" sldId="3115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8:22.555" v="239" actId="478"/>
          <ac:spMkLst>
            <pc:docMk/>
            <pc:sldMk cId="1113925100" sldId="3115"/>
            <ac:spMk id="5" creationId="{4E2208A7-406D-4922-ADC9-96E827C1B068}"/>
          </ac:spMkLst>
        </pc:spChg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1129933908" sldId="3129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2356428871" sldId="3131"/>
        </pc:sldMkLst>
      </pc:sldChg>
      <pc:sldChg chg="del">
        <pc:chgData name="Timo Gossen" userId="4ec7f864-84f7-407f-b8f9-5c31d0de0089" providerId="ADAL" clId="{FCCAAF6F-5D5D-47BA-8041-A2B57206BEAB}" dt="2021-02-15T13:18:38.917" v="240" actId="47"/>
        <pc:sldMkLst>
          <pc:docMk/>
          <pc:sldMk cId="998631707" sldId="3133"/>
        </pc:sldMkLst>
      </pc:sldChg>
      <pc:sldChg chg="addSp delSp modSp mod modClrScheme chgLayout">
        <pc:chgData name="Timo Gossen" userId="4ec7f864-84f7-407f-b8f9-5c31d0de0089" providerId="ADAL" clId="{FCCAAF6F-5D5D-47BA-8041-A2B57206BEAB}" dt="2021-02-15T13:13:46.824" v="179" actId="478"/>
        <pc:sldMkLst>
          <pc:docMk/>
          <pc:sldMk cId="2493461545" sldId="10214"/>
        </pc:sldMkLst>
        <pc:spChg chg="mod ord">
          <ac:chgData name="Timo Gossen" userId="4ec7f864-84f7-407f-b8f9-5c31d0de0089" providerId="ADAL" clId="{FCCAAF6F-5D5D-47BA-8041-A2B57206BEAB}" dt="2021-02-15T13:13:42.871" v="178" actId="700"/>
          <ac:spMkLst>
            <pc:docMk/>
            <pc:sldMk cId="2493461545" sldId="10214"/>
            <ac:spMk id="2" creationId="{B2AB160B-1965-4AF8-AFEB-936329742A7E}"/>
          </ac:spMkLst>
        </pc:spChg>
        <pc:spChg chg="add del mod ord">
          <ac:chgData name="Timo Gossen" userId="4ec7f864-84f7-407f-b8f9-5c31d0de0089" providerId="ADAL" clId="{FCCAAF6F-5D5D-47BA-8041-A2B57206BEAB}" dt="2021-02-15T13:13:46.824" v="179" actId="478"/>
          <ac:spMkLst>
            <pc:docMk/>
            <pc:sldMk cId="2493461545" sldId="10214"/>
            <ac:spMk id="5" creationId="{BA5205A5-4D8F-42D5-810C-F1494F16207A}"/>
          </ac:spMkLst>
        </pc:spChg>
        <pc:spChg chg="del">
          <ac:chgData name="Timo Gossen" userId="4ec7f864-84f7-407f-b8f9-5c31d0de0089" providerId="ADAL" clId="{FCCAAF6F-5D5D-47BA-8041-A2B57206BEAB}" dt="2021-02-15T13:13:07.502" v="171" actId="700"/>
          <ac:spMkLst>
            <pc:docMk/>
            <pc:sldMk cId="2493461545" sldId="10214"/>
            <ac:spMk id="6" creationId="{8F7CB079-F30C-4E0F-99DA-CAE60D06E916}"/>
          </ac:spMkLst>
        </pc:spChg>
        <pc:spChg chg="del">
          <ac:chgData name="Timo Gossen" userId="4ec7f864-84f7-407f-b8f9-5c31d0de0089" providerId="ADAL" clId="{FCCAAF6F-5D5D-47BA-8041-A2B57206BEAB}" dt="2021-02-15T13:13:07.502" v="171" actId="700"/>
          <ac:spMkLst>
            <pc:docMk/>
            <pc:sldMk cId="2493461545" sldId="10214"/>
            <ac:spMk id="7" creationId="{4E5AF60C-19F8-4E2F-B88B-E404DFFF67B0}"/>
          </ac:spMkLst>
        </pc:spChg>
        <pc:spChg chg="del">
          <ac:chgData name="Timo Gossen" userId="4ec7f864-84f7-407f-b8f9-5c31d0de0089" providerId="ADAL" clId="{FCCAAF6F-5D5D-47BA-8041-A2B57206BEAB}" dt="2021-02-15T13:13:23.003" v="174" actId="478"/>
          <ac:spMkLst>
            <pc:docMk/>
            <pc:sldMk cId="2493461545" sldId="10214"/>
            <ac:spMk id="8" creationId="{8B94E22A-68AA-4BE6-94BB-22DAD09B0315}"/>
          </ac:spMkLst>
        </pc:spChg>
        <pc:spChg chg="add del mod ord">
          <ac:chgData name="Timo Gossen" userId="4ec7f864-84f7-407f-b8f9-5c31d0de0089" providerId="ADAL" clId="{FCCAAF6F-5D5D-47BA-8041-A2B57206BEAB}" dt="2021-02-15T13:13:42.871" v="178" actId="700"/>
          <ac:spMkLst>
            <pc:docMk/>
            <pc:sldMk cId="2493461545" sldId="10214"/>
            <ac:spMk id="9" creationId="{9A3A4B46-AE59-44DE-9561-E055DDD374C3}"/>
          </ac:spMkLst>
        </pc:spChg>
        <pc:graphicFrameChg chg="mod modGraphic">
          <ac:chgData name="Timo Gossen" userId="4ec7f864-84f7-407f-b8f9-5c31d0de0089" providerId="ADAL" clId="{FCCAAF6F-5D5D-47BA-8041-A2B57206BEAB}" dt="2021-02-15T13:13:19.213" v="173" actId="14100"/>
          <ac:graphicFrameMkLst>
            <pc:docMk/>
            <pc:sldMk cId="2493461545" sldId="10214"/>
            <ac:graphicFrameMk id="3" creationId="{3FDB7879-DD4E-4F93-B52A-E40806ED28FC}"/>
          </ac:graphicFrameMkLst>
        </pc:graphicFrameChg>
      </pc:sldChg>
      <pc:sldChg chg="delSp modSp mod chgLayout">
        <pc:chgData name="Timo Gossen" userId="4ec7f864-84f7-407f-b8f9-5c31d0de0089" providerId="ADAL" clId="{FCCAAF6F-5D5D-47BA-8041-A2B57206BEAB}" dt="2021-02-15T13:12:48.019" v="170" actId="478"/>
        <pc:sldMkLst>
          <pc:docMk/>
          <pc:sldMk cId="2973579887" sldId="10215"/>
        </pc:sldMkLst>
        <pc:spChg chg="mod ord">
          <ac:chgData name="Timo Gossen" userId="4ec7f864-84f7-407f-b8f9-5c31d0de0089" providerId="ADAL" clId="{FCCAAF6F-5D5D-47BA-8041-A2B57206BEAB}" dt="2021-02-15T13:12:31.761" v="167" actId="700"/>
          <ac:spMkLst>
            <pc:docMk/>
            <pc:sldMk cId="2973579887" sldId="10215"/>
            <ac:spMk id="2" creationId="{45010FE8-BF09-4146-B084-66CB05B66FD9}"/>
          </ac:spMkLst>
        </pc:spChg>
        <pc:spChg chg="del">
          <ac:chgData name="Timo Gossen" userId="4ec7f864-84f7-407f-b8f9-5c31d0de0089" providerId="ADAL" clId="{FCCAAF6F-5D5D-47BA-8041-A2B57206BEAB}" dt="2021-02-15T13:12:48.019" v="170" actId="478"/>
          <ac:spMkLst>
            <pc:docMk/>
            <pc:sldMk cId="2973579887" sldId="10215"/>
            <ac:spMk id="7" creationId="{4AFC1553-A3E1-4CC9-B2CA-C19C60C5EC62}"/>
          </ac:spMkLst>
        </pc:spChg>
        <pc:spChg chg="mod ord">
          <ac:chgData name="Timo Gossen" userId="4ec7f864-84f7-407f-b8f9-5c31d0de0089" providerId="ADAL" clId="{FCCAAF6F-5D5D-47BA-8041-A2B57206BEAB}" dt="2021-02-15T13:12:31.761" v="167" actId="700"/>
          <ac:spMkLst>
            <pc:docMk/>
            <pc:sldMk cId="2973579887" sldId="10215"/>
            <ac:spMk id="8" creationId="{1AF43672-EAA7-4A7F-A16E-B24AC0277A6F}"/>
          </ac:spMkLst>
        </pc:spChg>
        <pc:spChg chg="mod ord">
          <ac:chgData name="Timo Gossen" userId="4ec7f864-84f7-407f-b8f9-5c31d0de0089" providerId="ADAL" clId="{FCCAAF6F-5D5D-47BA-8041-A2B57206BEAB}" dt="2021-02-15T13:12:31.761" v="167" actId="700"/>
          <ac:spMkLst>
            <pc:docMk/>
            <pc:sldMk cId="2973579887" sldId="10215"/>
            <ac:spMk id="11" creationId="{AB465C5A-5C4D-4ECC-970D-CE6C560A774D}"/>
          </ac:spMkLst>
        </pc:spChg>
        <pc:picChg chg="mod">
          <ac:chgData name="Timo Gossen" userId="4ec7f864-84f7-407f-b8f9-5c31d0de0089" providerId="ADAL" clId="{FCCAAF6F-5D5D-47BA-8041-A2B57206BEAB}" dt="2021-02-15T13:12:42.690" v="169" actId="1076"/>
          <ac:picMkLst>
            <pc:docMk/>
            <pc:sldMk cId="2973579887" sldId="10215"/>
            <ac:picMk id="5" creationId="{43BD8A21-FF2D-463C-877F-512295126F03}"/>
          </ac:picMkLst>
        </pc:picChg>
      </pc:sldChg>
      <pc:sldChg chg="addSp delSp modSp mod chgLayout">
        <pc:chgData name="Timo Gossen" userId="4ec7f864-84f7-407f-b8f9-5c31d0de0089" providerId="ADAL" clId="{FCCAAF6F-5D5D-47BA-8041-A2B57206BEAB}" dt="2021-02-15T13:16:19.551" v="210" actId="14100"/>
        <pc:sldMkLst>
          <pc:docMk/>
          <pc:sldMk cId="1742442491" sldId="10218"/>
        </pc:sldMkLst>
        <pc:spChg chg="mod ord">
          <ac:chgData name="Timo Gossen" userId="4ec7f864-84f7-407f-b8f9-5c31d0de0089" providerId="ADAL" clId="{FCCAAF6F-5D5D-47BA-8041-A2B57206BEAB}" dt="2021-02-15T13:14:58.016" v="194" actId="700"/>
          <ac:spMkLst>
            <pc:docMk/>
            <pc:sldMk cId="1742442491" sldId="10218"/>
            <ac:spMk id="2" creationId="{9A5F7442-15DF-4255-92A0-FB16CC426038}"/>
          </ac:spMkLst>
        </pc:spChg>
        <pc:spChg chg="mod">
          <ac:chgData name="Timo Gossen" userId="4ec7f864-84f7-407f-b8f9-5c31d0de0089" providerId="ADAL" clId="{FCCAAF6F-5D5D-47BA-8041-A2B57206BEAB}" dt="2021-02-15T13:16:19.551" v="210" actId="14100"/>
          <ac:spMkLst>
            <pc:docMk/>
            <pc:sldMk cId="1742442491" sldId="10218"/>
            <ac:spMk id="5" creationId="{41A63EC8-B178-41F0-8DE0-CDD1CF734A4B}"/>
          </ac:spMkLst>
        </pc:spChg>
        <pc:spChg chg="add del mod">
          <ac:chgData name="Timo Gossen" userId="4ec7f864-84f7-407f-b8f9-5c31d0de0089" providerId="ADAL" clId="{FCCAAF6F-5D5D-47BA-8041-A2B57206BEAB}" dt="2021-02-15T13:16:11.771" v="209" actId="478"/>
          <ac:spMkLst>
            <pc:docMk/>
            <pc:sldMk cId="1742442491" sldId="10218"/>
            <ac:spMk id="6" creationId="{C8B28E46-DCD5-4F8C-977F-4536606A9D92}"/>
          </ac:spMkLst>
        </pc:spChg>
        <pc:spChg chg="mod ord">
          <ac:chgData name="Timo Gossen" userId="4ec7f864-84f7-407f-b8f9-5c31d0de0089" providerId="ADAL" clId="{FCCAAF6F-5D5D-47BA-8041-A2B57206BEAB}" dt="2021-02-15T13:14:58.016" v="194" actId="700"/>
          <ac:spMkLst>
            <pc:docMk/>
            <pc:sldMk cId="1742442491" sldId="10218"/>
            <ac:spMk id="8" creationId="{57122B43-7D6F-4993-B0A9-459BDFFA53EA}"/>
          </ac:spMkLst>
        </pc:spChg>
        <pc:graphicFrameChg chg="del mod ord modGraphic">
          <ac:chgData name="Timo Gossen" userId="4ec7f864-84f7-407f-b8f9-5c31d0de0089" providerId="ADAL" clId="{FCCAAF6F-5D5D-47BA-8041-A2B57206BEAB}" dt="2021-02-15T13:16:08.224" v="208" actId="478"/>
          <ac:graphicFrameMkLst>
            <pc:docMk/>
            <pc:sldMk cId="1742442491" sldId="10218"/>
            <ac:graphicFrameMk id="4" creationId="{1504D83B-2AE6-42C4-BF06-D4C5CB157978}"/>
          </ac:graphicFrameMkLst>
        </pc:graphicFrameChg>
      </pc:sldChg>
      <pc:sldChg chg="delSp modSp mod chgLayout">
        <pc:chgData name="Timo Gossen" userId="4ec7f864-84f7-407f-b8f9-5c31d0de0089" providerId="ADAL" clId="{FCCAAF6F-5D5D-47BA-8041-A2B57206BEAB}" dt="2021-03-04T15:20:59.300" v="427" actId="5793"/>
        <pc:sldMkLst>
          <pc:docMk/>
          <pc:sldMk cId="2500433500" sldId="10231"/>
        </pc:sldMkLst>
        <pc:spChg chg="mod ord">
          <ac:chgData name="Timo Gossen" userId="4ec7f864-84f7-407f-b8f9-5c31d0de0089" providerId="ADAL" clId="{FCCAAF6F-5D5D-47BA-8041-A2B57206BEAB}" dt="2021-02-15T13:12:02.432" v="164" actId="700"/>
          <ac:spMkLst>
            <pc:docMk/>
            <pc:sldMk cId="2500433500" sldId="10231"/>
            <ac:spMk id="2" creationId="{45010FE8-BF09-4146-B084-66CB05B66FD9}"/>
          </ac:spMkLst>
        </pc:spChg>
        <pc:spChg chg="mod ord">
          <ac:chgData name="Timo Gossen" userId="4ec7f864-84f7-407f-b8f9-5c31d0de0089" providerId="ADAL" clId="{FCCAAF6F-5D5D-47BA-8041-A2B57206BEAB}" dt="2021-02-15T13:12:02.432" v="164" actId="700"/>
          <ac:spMkLst>
            <pc:docMk/>
            <pc:sldMk cId="2500433500" sldId="10231"/>
            <ac:spMk id="5" creationId="{9ADA6DD7-C832-47D3-AD84-B2005818230B}"/>
          </ac:spMkLst>
        </pc:spChg>
        <pc:spChg chg="del">
          <ac:chgData name="Timo Gossen" userId="4ec7f864-84f7-407f-b8f9-5c31d0de0089" providerId="ADAL" clId="{FCCAAF6F-5D5D-47BA-8041-A2B57206BEAB}" dt="2021-02-15T13:12:05.684" v="165" actId="478"/>
          <ac:spMkLst>
            <pc:docMk/>
            <pc:sldMk cId="2500433500" sldId="10231"/>
            <ac:spMk id="7" creationId="{302F019B-03C4-4B6A-AC7D-786F458775B8}"/>
          </ac:spMkLst>
        </pc:spChg>
        <pc:spChg chg="mod">
          <ac:chgData name="Timo Gossen" userId="4ec7f864-84f7-407f-b8f9-5c31d0de0089" providerId="ADAL" clId="{FCCAAF6F-5D5D-47BA-8041-A2B57206BEAB}" dt="2021-02-15T13:12:12.136" v="166" actId="6549"/>
          <ac:spMkLst>
            <pc:docMk/>
            <pc:sldMk cId="2500433500" sldId="10231"/>
            <ac:spMk id="9" creationId="{49AADAEA-28D5-4689-BD5F-4AEFD67EEA64}"/>
          </ac:spMkLst>
        </pc:spChg>
        <pc:spChg chg="mod ord">
          <ac:chgData name="Timo Gossen" userId="4ec7f864-84f7-407f-b8f9-5c31d0de0089" providerId="ADAL" clId="{FCCAAF6F-5D5D-47BA-8041-A2B57206BEAB}" dt="2021-03-04T15:20:59.300" v="427" actId="5793"/>
          <ac:spMkLst>
            <pc:docMk/>
            <pc:sldMk cId="2500433500" sldId="10231"/>
            <ac:spMk id="13" creationId="{FB173B7C-1137-4AF7-AF40-F42FCCDB8388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6:50.324" v="218" actId="478"/>
        <pc:sldMkLst>
          <pc:docMk/>
          <pc:sldMk cId="4058547659" sldId="10233"/>
        </pc:sldMkLst>
        <pc:spChg chg="mod ord">
          <ac:chgData name="Timo Gossen" userId="4ec7f864-84f7-407f-b8f9-5c31d0de0089" providerId="ADAL" clId="{FCCAAF6F-5D5D-47BA-8041-A2B57206BEAB}" dt="2021-02-15T13:16:47.095" v="217" actId="700"/>
          <ac:spMkLst>
            <pc:docMk/>
            <pc:sldMk cId="4058547659" sldId="10233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6:47.095" v="217" actId="700"/>
          <ac:spMkLst>
            <pc:docMk/>
            <pc:sldMk cId="4058547659" sldId="10233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6:47.095" v="217" actId="700"/>
          <ac:spMkLst>
            <pc:docMk/>
            <pc:sldMk cId="4058547659" sldId="10233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6:50.324" v="218" actId="478"/>
          <ac:spMkLst>
            <pc:docMk/>
            <pc:sldMk cId="4058547659" sldId="10233"/>
            <ac:spMk id="5" creationId="{B7682BDA-B6DF-42A1-968A-F4CD3884351D}"/>
          </ac:spMkLst>
        </pc:spChg>
      </pc:sldChg>
      <pc:sldChg chg="addSp delSp modSp mod chgLayout">
        <pc:chgData name="Timo Gossen" userId="4ec7f864-84f7-407f-b8f9-5c31d0de0089" providerId="ADAL" clId="{FCCAAF6F-5D5D-47BA-8041-A2B57206BEAB}" dt="2021-02-15T13:17:59.753" v="233" actId="478"/>
        <pc:sldMkLst>
          <pc:docMk/>
          <pc:sldMk cId="2184956341" sldId="10234"/>
        </pc:sldMkLst>
        <pc:spChg chg="mod ord">
          <ac:chgData name="Timo Gossen" userId="4ec7f864-84f7-407f-b8f9-5c31d0de0089" providerId="ADAL" clId="{FCCAAF6F-5D5D-47BA-8041-A2B57206BEAB}" dt="2021-02-15T13:17:58.139" v="232" actId="700"/>
          <ac:spMkLst>
            <pc:docMk/>
            <pc:sldMk cId="2184956341" sldId="10234"/>
            <ac:spMk id="2" creationId="{221BA93B-8FF7-4E5C-8D0C-B629ED7A15DE}"/>
          </ac:spMkLst>
        </pc:spChg>
        <pc:spChg chg="del">
          <ac:chgData name="Timo Gossen" userId="4ec7f864-84f7-407f-b8f9-5c31d0de0089" providerId="ADAL" clId="{FCCAAF6F-5D5D-47BA-8041-A2B57206BEAB}" dt="2021-02-15T13:17:58.139" v="232" actId="700"/>
          <ac:spMkLst>
            <pc:docMk/>
            <pc:sldMk cId="2184956341" sldId="10234"/>
            <ac:spMk id="3" creationId="{B3C243B8-54E7-412D-9FE3-6A538909BF36}"/>
          </ac:spMkLst>
        </pc:spChg>
        <pc:spChg chg="add mod ord">
          <ac:chgData name="Timo Gossen" userId="4ec7f864-84f7-407f-b8f9-5c31d0de0089" providerId="ADAL" clId="{FCCAAF6F-5D5D-47BA-8041-A2B57206BEAB}" dt="2021-02-15T13:17:58.139" v="232" actId="700"/>
          <ac:spMkLst>
            <pc:docMk/>
            <pc:sldMk cId="2184956341" sldId="10234"/>
            <ac:spMk id="4" creationId="{ABBEE62E-E429-46DE-AA76-8AE2B4C7275C}"/>
          </ac:spMkLst>
        </pc:spChg>
        <pc:spChg chg="mod ord">
          <ac:chgData name="Timo Gossen" userId="4ec7f864-84f7-407f-b8f9-5c31d0de0089" providerId="ADAL" clId="{FCCAAF6F-5D5D-47BA-8041-A2B57206BEAB}" dt="2021-02-15T13:17:58.139" v="232" actId="700"/>
          <ac:spMkLst>
            <pc:docMk/>
            <pc:sldMk cId="2184956341" sldId="10234"/>
            <ac:spMk id="5" creationId="{CE8590C2-7AA1-4DC2-9F11-5CCE7FA3BD72}"/>
          </ac:spMkLst>
        </pc:spChg>
        <pc:spChg chg="del">
          <ac:chgData name="Timo Gossen" userId="4ec7f864-84f7-407f-b8f9-5c31d0de0089" providerId="ADAL" clId="{FCCAAF6F-5D5D-47BA-8041-A2B57206BEAB}" dt="2021-02-15T13:17:59.753" v="233" actId="478"/>
          <ac:spMkLst>
            <pc:docMk/>
            <pc:sldMk cId="2184956341" sldId="10234"/>
            <ac:spMk id="11" creationId="{C5AE8EF7-BFB9-4494-8E17-A2D6C8E1096B}"/>
          </ac:spMkLst>
        </pc:spChg>
      </pc:sldChg>
      <pc:sldChg chg="delSp modSp mod chgLayout">
        <pc:chgData name="Timo Gossen" userId="4ec7f864-84f7-407f-b8f9-5c31d0de0089" providerId="ADAL" clId="{FCCAAF6F-5D5D-47BA-8041-A2B57206BEAB}" dt="2021-02-15T13:16:56.040" v="220" actId="478"/>
        <pc:sldMkLst>
          <pc:docMk/>
          <pc:sldMk cId="1717214716" sldId="10235"/>
        </pc:sldMkLst>
        <pc:spChg chg="mod ord">
          <ac:chgData name="Timo Gossen" userId="4ec7f864-84f7-407f-b8f9-5c31d0de0089" providerId="ADAL" clId="{FCCAAF6F-5D5D-47BA-8041-A2B57206BEAB}" dt="2021-02-15T13:16:54.491" v="219" actId="700"/>
          <ac:spMkLst>
            <pc:docMk/>
            <pc:sldMk cId="1717214716" sldId="10235"/>
            <ac:spMk id="2" creationId="{221BA93B-8FF7-4E5C-8D0C-B629ED7A15DE}"/>
          </ac:spMkLst>
        </pc:spChg>
        <pc:spChg chg="mod ord">
          <ac:chgData name="Timo Gossen" userId="4ec7f864-84f7-407f-b8f9-5c31d0de0089" providerId="ADAL" clId="{FCCAAF6F-5D5D-47BA-8041-A2B57206BEAB}" dt="2021-02-15T13:16:54.491" v="219" actId="700"/>
          <ac:spMkLst>
            <pc:docMk/>
            <pc:sldMk cId="1717214716" sldId="10235"/>
            <ac:spMk id="3" creationId="{B3C243B8-54E7-412D-9FE3-6A538909BF36}"/>
          </ac:spMkLst>
        </pc:spChg>
        <pc:spChg chg="mod ord">
          <ac:chgData name="Timo Gossen" userId="4ec7f864-84f7-407f-b8f9-5c31d0de0089" providerId="ADAL" clId="{FCCAAF6F-5D5D-47BA-8041-A2B57206BEAB}" dt="2021-02-15T13:16:54.491" v="219" actId="700"/>
          <ac:spMkLst>
            <pc:docMk/>
            <pc:sldMk cId="1717214716" sldId="10235"/>
            <ac:spMk id="4" creationId="{BE5B97C8-0595-4C69-90F0-320DAC93DED1}"/>
          </ac:spMkLst>
        </pc:spChg>
        <pc:spChg chg="del">
          <ac:chgData name="Timo Gossen" userId="4ec7f864-84f7-407f-b8f9-5c31d0de0089" providerId="ADAL" clId="{FCCAAF6F-5D5D-47BA-8041-A2B57206BEAB}" dt="2021-02-15T13:16:56.040" v="220" actId="478"/>
          <ac:spMkLst>
            <pc:docMk/>
            <pc:sldMk cId="1717214716" sldId="10235"/>
            <ac:spMk id="5" creationId="{B7682BDA-B6DF-42A1-968A-F4CD3884351D}"/>
          </ac:spMkLst>
        </pc:spChg>
      </pc:sldChg>
      <pc:sldChg chg="addSp modSp add mod">
        <pc:chgData name="Timo Gossen" userId="4ec7f864-84f7-407f-b8f9-5c31d0de0089" providerId="ADAL" clId="{FCCAAF6F-5D5D-47BA-8041-A2B57206BEAB}" dt="2021-02-24T16:41:07.976" v="401" actId="20577"/>
        <pc:sldMkLst>
          <pc:docMk/>
          <pc:sldMk cId="422387076" sldId="10236"/>
        </pc:sldMkLst>
        <pc:spChg chg="add mod">
          <ac:chgData name="Timo Gossen" userId="4ec7f864-84f7-407f-b8f9-5c31d0de0089" providerId="ADAL" clId="{FCCAAF6F-5D5D-47BA-8041-A2B57206BEAB}" dt="2021-02-24T16:41:07.976" v="401" actId="20577"/>
          <ac:spMkLst>
            <pc:docMk/>
            <pc:sldMk cId="422387076" sldId="10236"/>
            <ac:spMk id="2" creationId="{AE1AF299-4814-4CFB-B462-EDCDFF6A87CB}"/>
          </ac:spMkLst>
        </pc:spChg>
        <pc:spChg chg="mod">
          <ac:chgData name="Timo Gossen" userId="4ec7f864-84f7-407f-b8f9-5c31d0de0089" providerId="ADAL" clId="{FCCAAF6F-5D5D-47BA-8041-A2B57206BEAB}" dt="2021-02-15T12:45:51.622" v="3" actId="20577"/>
          <ac:spMkLst>
            <pc:docMk/>
            <pc:sldMk cId="422387076" sldId="10236"/>
            <ac:spMk id="4" creationId="{00000000-0000-0000-0000-000000000000}"/>
          </ac:spMkLst>
        </pc:spChg>
      </pc:sldChg>
      <pc:sldChg chg="modSp add del mod chgLayout">
        <pc:chgData name="Timo Gossen" userId="4ec7f864-84f7-407f-b8f9-5c31d0de0089" providerId="ADAL" clId="{FCCAAF6F-5D5D-47BA-8041-A2B57206BEAB}" dt="2021-02-15T13:03:22.681" v="69" actId="403"/>
        <pc:sldMkLst>
          <pc:docMk/>
          <pc:sldMk cId="183318976" sldId="2076137943"/>
        </pc:sldMkLst>
        <pc:spChg chg="mod ord">
          <ac:chgData name="Timo Gossen" userId="4ec7f864-84f7-407f-b8f9-5c31d0de0089" providerId="ADAL" clId="{FCCAAF6F-5D5D-47BA-8041-A2B57206BEAB}" dt="2021-02-15T13:03:22.681" v="69" actId="403"/>
          <ac:spMkLst>
            <pc:docMk/>
            <pc:sldMk cId="183318976" sldId="2076137943"/>
            <ac:spMk id="2" creationId="{00000000-0000-0000-0000-000000000000}"/>
          </ac:spMkLst>
        </pc:spChg>
        <pc:spChg chg="mod">
          <ac:chgData name="Timo Gossen" userId="4ec7f864-84f7-407f-b8f9-5c31d0de0089" providerId="ADAL" clId="{FCCAAF6F-5D5D-47BA-8041-A2B57206BEAB}" dt="2021-02-15T13:03:14.123" v="68" actId="1076"/>
          <ac:spMkLst>
            <pc:docMk/>
            <pc:sldMk cId="183318976" sldId="2076137943"/>
            <ac:spMk id="14" creationId="{37575196-25AE-42C2-A5B1-7F6C4F348016}"/>
          </ac:spMkLst>
        </pc:spChg>
        <pc:spChg chg="mod">
          <ac:chgData name="Timo Gossen" userId="4ec7f864-84f7-407f-b8f9-5c31d0de0089" providerId="ADAL" clId="{FCCAAF6F-5D5D-47BA-8041-A2B57206BEAB}" dt="2021-02-15T13:02:58.597" v="58" actId="14100"/>
          <ac:spMkLst>
            <pc:docMk/>
            <pc:sldMk cId="183318976" sldId="2076137943"/>
            <ac:spMk id="33" creationId="{08412CFE-1DE6-4694-9D97-C3EA1F57928E}"/>
          </ac:spMkLst>
        </pc:spChg>
        <pc:spChg chg="mod">
          <ac:chgData name="Timo Gossen" userId="4ec7f864-84f7-407f-b8f9-5c31d0de0089" providerId="ADAL" clId="{FCCAAF6F-5D5D-47BA-8041-A2B57206BEAB}" dt="2021-02-15T13:03:14.123" v="68" actId="1076"/>
          <ac:spMkLst>
            <pc:docMk/>
            <pc:sldMk cId="183318976" sldId="2076137943"/>
            <ac:spMk id="38" creationId="{C6200C62-9AED-4CF8-970F-3F6CF1F00E30}"/>
          </ac:spMkLst>
        </pc:spChg>
        <pc:spChg chg="mod">
          <ac:chgData name="Timo Gossen" userId="4ec7f864-84f7-407f-b8f9-5c31d0de0089" providerId="ADAL" clId="{FCCAAF6F-5D5D-47BA-8041-A2B57206BEAB}" dt="2021-02-15T13:03:14.123" v="68" actId="1076"/>
          <ac:spMkLst>
            <pc:docMk/>
            <pc:sldMk cId="183318976" sldId="2076137943"/>
            <ac:spMk id="40" creationId="{D91099B1-0D2E-4A0B-9A9A-B939C466AD80}"/>
          </ac:spMkLst>
        </pc:spChg>
        <pc:grpChg chg="mod">
          <ac:chgData name="Timo Gossen" userId="4ec7f864-84f7-407f-b8f9-5c31d0de0089" providerId="ADAL" clId="{FCCAAF6F-5D5D-47BA-8041-A2B57206BEAB}" dt="2021-02-15T13:03:14.123" v="68" actId="1076"/>
          <ac:grpSpMkLst>
            <pc:docMk/>
            <pc:sldMk cId="183318976" sldId="2076137943"/>
            <ac:grpSpMk id="25" creationId="{323375BB-609F-4530-A039-A0683DA134DD}"/>
          </ac:grpSpMkLst>
        </pc:grpChg>
        <pc:grpChg chg="mod">
          <ac:chgData name="Timo Gossen" userId="4ec7f864-84f7-407f-b8f9-5c31d0de0089" providerId="ADAL" clId="{FCCAAF6F-5D5D-47BA-8041-A2B57206BEAB}" dt="2021-02-15T13:03:14.123" v="68" actId="1076"/>
          <ac:grpSpMkLst>
            <pc:docMk/>
            <pc:sldMk cId="183318976" sldId="2076137943"/>
            <ac:grpSpMk id="28" creationId="{B167CE6D-8905-45DB-BF4B-8836800EA585}"/>
          </ac:grpSpMkLst>
        </pc:grpChg>
        <pc:grpChg chg="mod">
          <ac:chgData name="Timo Gossen" userId="4ec7f864-84f7-407f-b8f9-5c31d0de0089" providerId="ADAL" clId="{FCCAAF6F-5D5D-47BA-8041-A2B57206BEAB}" dt="2021-02-15T13:03:14.123" v="68" actId="1076"/>
          <ac:grpSpMkLst>
            <pc:docMk/>
            <pc:sldMk cId="183318976" sldId="2076137943"/>
            <ac:grpSpMk id="29" creationId="{CE5F55F7-5AAE-4F92-88F9-DDBE08576C91}"/>
          </ac:grpSpMkLst>
        </pc:grpChg>
        <pc:cxnChg chg="mod">
          <ac:chgData name="Timo Gossen" userId="4ec7f864-84f7-407f-b8f9-5c31d0de0089" providerId="ADAL" clId="{FCCAAF6F-5D5D-47BA-8041-A2B57206BEAB}" dt="2021-02-15T13:03:14.123" v="68" actId="1076"/>
          <ac:cxnSpMkLst>
            <pc:docMk/>
            <pc:sldMk cId="183318976" sldId="2076137943"/>
            <ac:cxnSpMk id="11" creationId="{F5BA403D-076C-4F38-8AC0-C7F57280895B}"/>
          </ac:cxnSpMkLst>
        </pc:cxnChg>
        <pc:cxnChg chg="mod">
          <ac:chgData name="Timo Gossen" userId="4ec7f864-84f7-407f-b8f9-5c31d0de0089" providerId="ADAL" clId="{FCCAAF6F-5D5D-47BA-8041-A2B57206BEAB}" dt="2021-02-15T13:03:14.123" v="68" actId="1076"/>
          <ac:cxnSpMkLst>
            <pc:docMk/>
            <pc:sldMk cId="183318976" sldId="2076137943"/>
            <ac:cxnSpMk id="12" creationId="{2F9873CB-82D5-4862-8319-4C5FD19D5FAF}"/>
          </ac:cxnSpMkLst>
        </pc:cxnChg>
        <pc:cxnChg chg="mod">
          <ac:chgData name="Timo Gossen" userId="4ec7f864-84f7-407f-b8f9-5c31d0de0089" providerId="ADAL" clId="{FCCAAF6F-5D5D-47BA-8041-A2B57206BEAB}" dt="2021-02-15T13:03:14.123" v="68" actId="1076"/>
          <ac:cxnSpMkLst>
            <pc:docMk/>
            <pc:sldMk cId="183318976" sldId="2076137943"/>
            <ac:cxnSpMk id="21" creationId="{0316BAE6-15A5-42A9-B1A3-B667C89096AA}"/>
          </ac:cxnSpMkLst>
        </pc:cxnChg>
      </pc:sldChg>
      <pc:sldChg chg="add del">
        <pc:chgData name="Timo Gossen" userId="4ec7f864-84f7-407f-b8f9-5c31d0de0089" providerId="ADAL" clId="{FCCAAF6F-5D5D-47BA-8041-A2B57206BEAB}" dt="2021-02-15T14:14:09.928" v="282" actId="47"/>
        <pc:sldMkLst>
          <pc:docMk/>
          <pc:sldMk cId="639561199" sldId="2076137944"/>
        </pc:sldMkLst>
      </pc:sldChg>
      <pc:sldChg chg="modSp add mod">
        <pc:chgData name="Timo Gossen" userId="4ec7f864-84f7-407f-b8f9-5c31d0de0089" providerId="ADAL" clId="{FCCAAF6F-5D5D-47BA-8041-A2B57206BEAB}" dt="2021-02-15T14:16:05.721" v="389" actId="20577"/>
        <pc:sldMkLst>
          <pc:docMk/>
          <pc:sldMk cId="740737902" sldId="2076137945"/>
        </pc:sldMkLst>
        <pc:spChg chg="mod">
          <ac:chgData name="Timo Gossen" userId="4ec7f864-84f7-407f-b8f9-5c31d0de0089" providerId="ADAL" clId="{FCCAAF6F-5D5D-47BA-8041-A2B57206BEAB}" dt="2021-02-15T14:14:28.297" v="283"/>
          <ac:spMkLst>
            <pc:docMk/>
            <pc:sldMk cId="740737902" sldId="2076137945"/>
            <ac:spMk id="2" creationId="{9A5F7442-15DF-4255-92A0-FB16CC426038}"/>
          </ac:spMkLst>
        </pc:spChg>
        <pc:spChg chg="mod">
          <ac:chgData name="Timo Gossen" userId="4ec7f864-84f7-407f-b8f9-5c31d0de0089" providerId="ADAL" clId="{FCCAAF6F-5D5D-47BA-8041-A2B57206BEAB}" dt="2021-02-15T14:16:05.721" v="389" actId="20577"/>
          <ac:spMkLst>
            <pc:docMk/>
            <pc:sldMk cId="740737902" sldId="2076137945"/>
            <ac:spMk id="8" creationId="{57122B43-7D6F-4993-B0A9-459BDFFA53EA}"/>
          </ac:spMkLst>
        </pc:spChg>
      </pc:sldChg>
      <pc:sldMasterChg chg="delSldLayout modSldLayout sldLayoutOrd">
        <pc:chgData name="Timo Gossen" userId="4ec7f864-84f7-407f-b8f9-5c31d0de0089" providerId="ADAL" clId="{FCCAAF6F-5D5D-47BA-8041-A2B57206BEAB}" dt="2021-02-15T13:33:18.550" v="263" actId="122"/>
        <pc:sldMasterMkLst>
          <pc:docMk/>
          <pc:sldMasterMk cId="3588427678" sldId="2147484229"/>
        </pc:sldMasterMkLst>
        <pc:sldLayoutChg chg="del">
          <pc:chgData name="Timo Gossen" userId="4ec7f864-84f7-407f-b8f9-5c31d0de0089" providerId="ADAL" clId="{FCCAAF6F-5D5D-47BA-8041-A2B57206BEAB}" dt="2021-02-15T13:22:49.526" v="247" actId="2696"/>
          <pc:sldLayoutMkLst>
            <pc:docMk/>
            <pc:sldMasterMk cId="3588427678" sldId="2147484229"/>
            <pc:sldLayoutMk cId="3482969643" sldId="2147484263"/>
          </pc:sldLayoutMkLst>
        </pc:sldLayoutChg>
        <pc:sldLayoutChg chg="del">
          <pc:chgData name="Timo Gossen" userId="4ec7f864-84f7-407f-b8f9-5c31d0de0089" providerId="ADAL" clId="{FCCAAF6F-5D5D-47BA-8041-A2B57206BEAB}" dt="2021-02-15T13:22:51.342" v="248" actId="2696"/>
          <pc:sldLayoutMkLst>
            <pc:docMk/>
            <pc:sldMasterMk cId="3588427678" sldId="2147484229"/>
            <pc:sldLayoutMk cId="925069136" sldId="2147484299"/>
          </pc:sldLayoutMkLst>
        </pc:sldLayoutChg>
        <pc:sldLayoutChg chg="del">
          <pc:chgData name="Timo Gossen" userId="4ec7f864-84f7-407f-b8f9-5c31d0de0089" providerId="ADAL" clId="{FCCAAF6F-5D5D-47BA-8041-A2B57206BEAB}" dt="2021-02-15T13:23:08.685" v="253" actId="2696"/>
          <pc:sldLayoutMkLst>
            <pc:docMk/>
            <pc:sldMasterMk cId="3588427678" sldId="2147484229"/>
            <pc:sldLayoutMk cId="1938504317" sldId="2147484577"/>
          </pc:sldLayoutMkLst>
        </pc:sldLayoutChg>
        <pc:sldLayoutChg chg="del">
          <pc:chgData name="Timo Gossen" userId="4ec7f864-84f7-407f-b8f9-5c31d0de0089" providerId="ADAL" clId="{FCCAAF6F-5D5D-47BA-8041-A2B57206BEAB}" dt="2021-02-15T13:23:01.228" v="251" actId="2696"/>
          <pc:sldLayoutMkLst>
            <pc:docMk/>
            <pc:sldMasterMk cId="3588427678" sldId="2147484229"/>
            <pc:sldLayoutMk cId="3243858526" sldId="2147484603"/>
          </pc:sldLayoutMkLst>
        </pc:sldLayoutChg>
        <pc:sldLayoutChg chg="del">
          <pc:chgData name="Timo Gossen" userId="4ec7f864-84f7-407f-b8f9-5c31d0de0089" providerId="ADAL" clId="{FCCAAF6F-5D5D-47BA-8041-A2B57206BEAB}" dt="2021-02-15T13:23:11.129" v="254" actId="2696"/>
          <pc:sldLayoutMkLst>
            <pc:docMk/>
            <pc:sldMasterMk cId="3588427678" sldId="2147484229"/>
            <pc:sldLayoutMk cId="1605435431" sldId="2147484609"/>
          </pc:sldLayoutMkLst>
        </pc:sldLayoutChg>
        <pc:sldLayoutChg chg="del">
          <pc:chgData name="Timo Gossen" userId="4ec7f864-84f7-407f-b8f9-5c31d0de0089" providerId="ADAL" clId="{FCCAAF6F-5D5D-47BA-8041-A2B57206BEAB}" dt="2021-02-15T13:23:07.228" v="252" actId="2696"/>
          <pc:sldLayoutMkLst>
            <pc:docMk/>
            <pc:sldMasterMk cId="3588427678" sldId="2147484229"/>
            <pc:sldLayoutMk cId="1849598128" sldId="2147484610"/>
          </pc:sldLayoutMkLst>
        </pc:sldLayoutChg>
        <pc:sldLayoutChg chg="addSp delSp modSp">
          <pc:chgData name="Timo Gossen" userId="4ec7f864-84f7-407f-b8f9-5c31d0de0089" providerId="ADAL" clId="{FCCAAF6F-5D5D-47BA-8041-A2B57206BEAB}" dt="2021-02-15T13:01:24.695" v="41"/>
          <pc:sldLayoutMkLst>
            <pc:docMk/>
            <pc:sldMasterMk cId="3588427678" sldId="2147484229"/>
            <pc:sldLayoutMk cId="3232991965" sldId="2147484710"/>
          </pc:sldLayoutMkLst>
          <pc:spChg chg="add del mod">
            <ac:chgData name="Timo Gossen" userId="4ec7f864-84f7-407f-b8f9-5c31d0de0089" providerId="ADAL" clId="{FCCAAF6F-5D5D-47BA-8041-A2B57206BEAB}" dt="2021-02-15T13:01:24.695" v="41"/>
            <ac:spMkLst>
              <pc:docMk/>
              <pc:sldMasterMk cId="3588427678" sldId="2147484229"/>
              <pc:sldLayoutMk cId="3232991965" sldId="2147484710"/>
              <ac:spMk id="5" creationId="{1330E7DA-49EE-4DD9-99C0-BC6442A161CA}"/>
            </ac:spMkLst>
          </pc:spChg>
        </pc:sldLayoutChg>
        <pc:sldLayoutChg chg="del">
          <pc:chgData name="Timo Gossen" userId="4ec7f864-84f7-407f-b8f9-5c31d0de0089" providerId="ADAL" clId="{FCCAAF6F-5D5D-47BA-8041-A2B57206BEAB}" dt="2021-02-15T13:22:57.043" v="250" actId="2696"/>
          <pc:sldLayoutMkLst>
            <pc:docMk/>
            <pc:sldMasterMk cId="3588427678" sldId="2147484229"/>
            <pc:sldLayoutMk cId="1165025546" sldId="2147484787"/>
          </pc:sldLayoutMkLst>
        </pc:sldLayoutChg>
        <pc:sldLayoutChg chg="del">
          <pc:chgData name="Timo Gossen" userId="4ec7f864-84f7-407f-b8f9-5c31d0de0089" providerId="ADAL" clId="{FCCAAF6F-5D5D-47BA-8041-A2B57206BEAB}" dt="2021-02-15T13:22:55.860" v="249" actId="2696"/>
          <pc:sldLayoutMkLst>
            <pc:docMk/>
            <pc:sldMasterMk cId="3588427678" sldId="2147484229"/>
            <pc:sldLayoutMk cId="55837859" sldId="2147484931"/>
          </pc:sldLayoutMkLst>
        </pc:sldLayoutChg>
        <pc:sldLayoutChg chg="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783783012" sldId="2147484977"/>
          </pc:sldLayoutMkLst>
        </pc:sldLayoutChg>
        <pc:sldLayoutChg chg="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1945120727" sldId="2147484978"/>
          </pc:sldLayoutMkLst>
        </pc:sldLayoutChg>
        <pc:sldLayoutChg chg="addSp modSp mod ord">
          <pc:chgData name="Timo Gossen" userId="4ec7f864-84f7-407f-b8f9-5c31d0de0089" providerId="ADAL" clId="{FCCAAF6F-5D5D-47BA-8041-A2B57206BEAB}" dt="2021-02-15T13:33:14.388" v="262" actId="122"/>
          <pc:sldLayoutMkLst>
            <pc:docMk/>
            <pc:sldMasterMk cId="3588427678" sldId="2147484229"/>
            <pc:sldLayoutMk cId="2922454117" sldId="2147484979"/>
          </pc:sldLayoutMkLst>
          <pc:spChg chg="mod">
            <ac:chgData name="Timo Gossen" userId="4ec7f864-84f7-407f-b8f9-5c31d0de0089" providerId="ADAL" clId="{FCCAAF6F-5D5D-47BA-8041-A2B57206BEAB}" dt="2021-02-15T13:01:41.829" v="46" actId="14100"/>
            <ac:spMkLst>
              <pc:docMk/>
              <pc:sldMasterMk cId="3588427678" sldId="2147484229"/>
              <pc:sldLayoutMk cId="2922454117" sldId="2147484979"/>
              <ac:spMk id="2" creationId="{00000000-0000-0000-0000-000000000000}"/>
            </ac:spMkLst>
          </pc:spChg>
          <pc:spChg chg="add mod">
            <ac:chgData name="Timo Gossen" userId="4ec7f864-84f7-407f-b8f9-5c31d0de0089" providerId="ADAL" clId="{FCCAAF6F-5D5D-47BA-8041-A2B57206BEAB}" dt="2021-02-15T13:33:14.388" v="262" actId="122"/>
            <ac:spMkLst>
              <pc:docMk/>
              <pc:sldMasterMk cId="3588427678" sldId="2147484229"/>
              <pc:sldLayoutMk cId="2922454117" sldId="2147484979"/>
              <ac:spMk id="3" creationId="{2AA63561-31B5-45B8-995A-EDA7562DB62E}"/>
            </ac:spMkLst>
          </pc:spChg>
          <pc:spChg chg="mod">
            <ac:chgData name="Timo Gossen" userId="4ec7f864-84f7-407f-b8f9-5c31d0de0089" providerId="ADAL" clId="{FCCAAF6F-5D5D-47BA-8041-A2B57206BEAB}" dt="2021-02-15T13:01:56.355" v="50" actId="14100"/>
            <ac:spMkLst>
              <pc:docMk/>
              <pc:sldMasterMk cId="3588427678" sldId="2147484229"/>
              <pc:sldLayoutMk cId="2922454117" sldId="2147484979"/>
              <ac:spMk id="4" creationId="{00000000-0000-0000-0000-000000000000}"/>
            </ac:spMkLst>
          </pc:spChg>
          <pc:spChg chg="mod">
            <ac:chgData name="Timo Gossen" userId="4ec7f864-84f7-407f-b8f9-5c31d0de0089" providerId="ADAL" clId="{FCCAAF6F-5D5D-47BA-8041-A2B57206BEAB}" dt="2021-02-15T13:01:53.071" v="49" actId="14100"/>
            <ac:spMkLst>
              <pc:docMk/>
              <pc:sldMasterMk cId="3588427678" sldId="2147484229"/>
              <pc:sldLayoutMk cId="2922454117" sldId="2147484979"/>
              <ac:spMk id="5" creationId="{00000000-0000-0000-0000-000000000000}"/>
            </ac:spMkLst>
          </pc:spChg>
        </pc:sldLayoutChg>
        <pc:sldLayoutChg chg="addSp modSp mod ord">
          <pc:chgData name="Timo Gossen" userId="4ec7f864-84f7-407f-b8f9-5c31d0de0089" providerId="ADAL" clId="{FCCAAF6F-5D5D-47BA-8041-A2B57206BEAB}" dt="2021-02-15T13:33:18.550" v="263" actId="122"/>
          <pc:sldLayoutMkLst>
            <pc:docMk/>
            <pc:sldMasterMk cId="3588427678" sldId="2147484229"/>
            <pc:sldLayoutMk cId="3762376671" sldId="2147484980"/>
          </pc:sldLayoutMkLst>
          <pc:spChg chg="add mod">
            <ac:chgData name="Timo Gossen" userId="4ec7f864-84f7-407f-b8f9-5c31d0de0089" providerId="ADAL" clId="{FCCAAF6F-5D5D-47BA-8041-A2B57206BEAB}" dt="2021-02-15T13:33:18.550" v="263" actId="122"/>
            <ac:spMkLst>
              <pc:docMk/>
              <pc:sldMasterMk cId="3588427678" sldId="2147484229"/>
              <pc:sldLayoutMk cId="3762376671" sldId="2147484980"/>
              <ac:spMk id="2" creationId="{3DBB6C98-FFDE-474F-B972-E6DE38A0178E}"/>
            </ac:spMkLst>
          </pc:spChg>
          <pc:spChg chg="mod">
            <ac:chgData name="Timo Gossen" userId="4ec7f864-84f7-407f-b8f9-5c31d0de0089" providerId="ADAL" clId="{FCCAAF6F-5D5D-47BA-8041-A2B57206BEAB}" dt="2021-02-15T13:02:36.921" v="55" actId="255"/>
            <ac:spMkLst>
              <pc:docMk/>
              <pc:sldMasterMk cId="3588427678" sldId="2147484229"/>
              <pc:sldLayoutMk cId="3762376671" sldId="2147484980"/>
              <ac:spMk id="5" creationId="{6A970083-3A71-48F6-9BD0-D3686BD2843E}"/>
            </ac:spMkLst>
          </pc:spChg>
          <pc:spChg chg="mod">
            <ac:chgData name="Timo Gossen" userId="4ec7f864-84f7-407f-b8f9-5c31d0de0089" providerId="ADAL" clId="{FCCAAF6F-5D5D-47BA-8041-A2B57206BEAB}" dt="2021-02-15T13:02:09.743" v="54" actId="14100"/>
            <ac:spMkLst>
              <pc:docMk/>
              <pc:sldMasterMk cId="3588427678" sldId="2147484229"/>
              <pc:sldLayoutMk cId="3762376671" sldId="2147484980"/>
              <ac:spMk id="7" creationId="{9AB5242A-416F-4F00-9C67-1EF1C6073DCE}"/>
            </ac:spMkLst>
          </pc:spChg>
          <pc:spChg chg="mod">
            <ac:chgData name="Timo Gossen" userId="4ec7f864-84f7-407f-b8f9-5c31d0de0089" providerId="ADAL" clId="{FCCAAF6F-5D5D-47BA-8041-A2B57206BEAB}" dt="2021-02-15T13:02:05.024" v="52" actId="14100"/>
            <ac:spMkLst>
              <pc:docMk/>
              <pc:sldMasterMk cId="3588427678" sldId="2147484229"/>
              <pc:sldLayoutMk cId="3762376671" sldId="2147484980"/>
              <ac:spMk id="11" creationId="{FE10F35C-F5C7-474E-8739-D7BA8C2F7C9E}"/>
            </ac:spMkLst>
          </pc:spChg>
        </pc:sldLayoutChg>
        <pc:sldLayoutChg chg="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4251284768" sldId="2147484981"/>
          </pc:sldLayoutMkLst>
        </pc:sldLayoutChg>
        <pc:sldLayoutChg chg="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2361778526" sldId="2147484982"/>
          </pc:sldLayoutMkLst>
        </pc:sldLayoutChg>
        <pc:sldLayoutChg chg="delSp modSp mod 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2847597162" sldId="2147484983"/>
          </pc:sldLayoutMkLst>
          <pc:spChg chg="del mod">
            <ac:chgData name="Timo Gossen" userId="4ec7f864-84f7-407f-b8f9-5c31d0de0089" providerId="ADAL" clId="{FCCAAF6F-5D5D-47BA-8041-A2B57206BEAB}" dt="2021-02-15T13:22:42.476" v="245" actId="478"/>
            <ac:spMkLst>
              <pc:docMk/>
              <pc:sldMasterMk cId="3588427678" sldId="2147484229"/>
              <pc:sldLayoutMk cId="2847597162" sldId="2147484983"/>
              <ac:spMk id="3" creationId="{2AA63561-31B5-45B8-995A-EDA7562DB62E}"/>
            </ac:spMkLst>
          </pc:spChg>
        </pc:sldLayoutChg>
        <pc:sldLayoutChg chg="delSp mod ord">
          <pc:chgData name="Timo Gossen" userId="4ec7f864-84f7-407f-b8f9-5c31d0de0089" providerId="ADAL" clId="{FCCAAF6F-5D5D-47BA-8041-A2B57206BEAB}" dt="2021-02-15T13:24:06.252" v="259" actId="20578"/>
          <pc:sldLayoutMkLst>
            <pc:docMk/>
            <pc:sldMasterMk cId="3588427678" sldId="2147484229"/>
            <pc:sldLayoutMk cId="2731990611" sldId="2147484984"/>
          </pc:sldLayoutMkLst>
          <pc:spChg chg="del">
            <ac:chgData name="Timo Gossen" userId="4ec7f864-84f7-407f-b8f9-5c31d0de0089" providerId="ADAL" clId="{FCCAAF6F-5D5D-47BA-8041-A2B57206BEAB}" dt="2021-02-15T13:22:44.623" v="246" actId="478"/>
            <ac:spMkLst>
              <pc:docMk/>
              <pc:sldMasterMk cId="3588427678" sldId="2147484229"/>
              <pc:sldLayoutMk cId="2731990611" sldId="2147484984"/>
              <ac:spMk id="2" creationId="{3DBB6C98-FFDE-474F-B972-E6DE38A0178E}"/>
            </ac:spMkLst>
          </pc:spChg>
        </pc:sldLayoutChg>
      </pc:sldMasterChg>
      <pc:sldMasterChg chg="add del delSldLayout">
        <pc:chgData name="Timo Gossen" userId="4ec7f864-84f7-407f-b8f9-5c31d0de0089" providerId="ADAL" clId="{FCCAAF6F-5D5D-47BA-8041-A2B57206BEAB}" dt="2021-02-15T13:01:44.171" v="48" actId="2696"/>
        <pc:sldMasterMkLst>
          <pc:docMk/>
          <pc:sldMasterMk cId="3852015802" sldId="2147484877"/>
        </pc:sldMasterMkLst>
        <pc:sldLayoutChg chg="del">
          <pc:chgData name="Timo Gossen" userId="4ec7f864-84f7-407f-b8f9-5c31d0de0089" providerId="ADAL" clId="{FCCAAF6F-5D5D-47BA-8041-A2B57206BEAB}" dt="2021-02-15T12:59:47.319" v="24" actId="2696"/>
          <pc:sldLayoutMkLst>
            <pc:docMk/>
            <pc:sldMasterMk cId="3852015802" sldId="2147484877"/>
            <pc:sldLayoutMk cId="693103414" sldId="2147484880"/>
          </pc:sldLayoutMkLst>
        </pc:sldLayoutChg>
        <pc:sldLayoutChg chg="del">
          <pc:chgData name="Timo Gossen" userId="4ec7f864-84f7-407f-b8f9-5c31d0de0089" providerId="ADAL" clId="{FCCAAF6F-5D5D-47BA-8041-A2B57206BEAB}" dt="2021-02-15T12:59:47.338" v="27" actId="2696"/>
          <pc:sldLayoutMkLst>
            <pc:docMk/>
            <pc:sldMasterMk cId="3852015802" sldId="2147484877"/>
            <pc:sldLayoutMk cId="3927896387" sldId="2147484903"/>
          </pc:sldLayoutMkLst>
        </pc:sldLayoutChg>
        <pc:sldLayoutChg chg="del">
          <pc:chgData name="Timo Gossen" userId="4ec7f864-84f7-407f-b8f9-5c31d0de0089" providerId="ADAL" clId="{FCCAAF6F-5D5D-47BA-8041-A2B57206BEAB}" dt="2021-02-15T12:59:47.361" v="31" actId="2696"/>
          <pc:sldLayoutMkLst>
            <pc:docMk/>
            <pc:sldMasterMk cId="3852015802" sldId="2147484877"/>
            <pc:sldLayoutMk cId="3449265278" sldId="2147484907"/>
          </pc:sldLayoutMkLst>
        </pc:sldLayoutChg>
        <pc:sldLayoutChg chg="del">
          <pc:chgData name="Timo Gossen" userId="4ec7f864-84f7-407f-b8f9-5c31d0de0089" providerId="ADAL" clId="{FCCAAF6F-5D5D-47BA-8041-A2B57206BEAB}" dt="2021-02-15T12:59:47.369" v="32" actId="2696"/>
          <pc:sldLayoutMkLst>
            <pc:docMk/>
            <pc:sldMasterMk cId="3852015802" sldId="2147484877"/>
            <pc:sldLayoutMk cId="2413689106" sldId="2147484908"/>
          </pc:sldLayoutMkLst>
        </pc:sldLayoutChg>
        <pc:sldLayoutChg chg="del">
          <pc:chgData name="Timo Gossen" userId="4ec7f864-84f7-407f-b8f9-5c31d0de0089" providerId="ADAL" clId="{FCCAAF6F-5D5D-47BA-8041-A2B57206BEAB}" dt="2021-02-15T12:59:47.377" v="33" actId="2696"/>
          <pc:sldLayoutMkLst>
            <pc:docMk/>
            <pc:sldMasterMk cId="3852015802" sldId="2147484877"/>
            <pc:sldLayoutMk cId="4269212997" sldId="2147484909"/>
          </pc:sldLayoutMkLst>
        </pc:sldLayoutChg>
        <pc:sldLayoutChg chg="del">
          <pc:chgData name="Timo Gossen" userId="4ec7f864-84f7-407f-b8f9-5c31d0de0089" providerId="ADAL" clId="{FCCAAF6F-5D5D-47BA-8041-A2B57206BEAB}" dt="2021-02-15T12:59:47.324" v="25" actId="2696"/>
          <pc:sldLayoutMkLst>
            <pc:docMk/>
            <pc:sldMasterMk cId="3852015802" sldId="2147484877"/>
            <pc:sldLayoutMk cId="2973649221" sldId="2147484950"/>
          </pc:sldLayoutMkLst>
        </pc:sldLayoutChg>
        <pc:sldLayoutChg chg="del">
          <pc:chgData name="Timo Gossen" userId="4ec7f864-84f7-407f-b8f9-5c31d0de0089" providerId="ADAL" clId="{FCCAAF6F-5D5D-47BA-8041-A2B57206BEAB}" dt="2021-02-15T12:59:47.329" v="26" actId="2696"/>
          <pc:sldLayoutMkLst>
            <pc:docMk/>
            <pc:sldMasterMk cId="3852015802" sldId="2147484877"/>
            <pc:sldLayoutMk cId="1780228471" sldId="2147484951"/>
          </pc:sldLayoutMkLst>
        </pc:sldLayoutChg>
        <pc:sldLayoutChg chg="del">
          <pc:chgData name="Timo Gossen" userId="4ec7f864-84f7-407f-b8f9-5c31d0de0089" providerId="ADAL" clId="{FCCAAF6F-5D5D-47BA-8041-A2B57206BEAB}" dt="2021-02-15T12:59:47.343" v="28" actId="2696"/>
          <pc:sldLayoutMkLst>
            <pc:docMk/>
            <pc:sldMasterMk cId="3852015802" sldId="2147484877"/>
            <pc:sldLayoutMk cId="902576282" sldId="2147484952"/>
          </pc:sldLayoutMkLst>
        </pc:sldLayoutChg>
        <pc:sldLayoutChg chg="del">
          <pc:chgData name="Timo Gossen" userId="4ec7f864-84f7-407f-b8f9-5c31d0de0089" providerId="ADAL" clId="{FCCAAF6F-5D5D-47BA-8041-A2B57206BEAB}" dt="2021-02-15T12:59:47.349" v="29" actId="2696"/>
          <pc:sldLayoutMkLst>
            <pc:docMk/>
            <pc:sldMasterMk cId="3852015802" sldId="2147484877"/>
            <pc:sldLayoutMk cId="2719457828" sldId="2147484953"/>
          </pc:sldLayoutMkLst>
        </pc:sldLayoutChg>
        <pc:sldLayoutChg chg="del">
          <pc:chgData name="Timo Gossen" userId="4ec7f864-84f7-407f-b8f9-5c31d0de0089" providerId="ADAL" clId="{FCCAAF6F-5D5D-47BA-8041-A2B57206BEAB}" dt="2021-02-15T12:59:47.354" v="30" actId="2696"/>
          <pc:sldLayoutMkLst>
            <pc:docMk/>
            <pc:sldMasterMk cId="3852015802" sldId="2147484877"/>
            <pc:sldLayoutMk cId="1566177600" sldId="2147484954"/>
          </pc:sldLayoutMkLst>
        </pc:sldLayoutChg>
        <pc:sldLayoutChg chg="del">
          <pc:chgData name="Timo Gossen" userId="4ec7f864-84f7-407f-b8f9-5c31d0de0089" providerId="ADAL" clId="{FCCAAF6F-5D5D-47BA-8041-A2B57206BEAB}" dt="2021-02-15T12:59:47.314" v="23" actId="2696"/>
          <pc:sldLayoutMkLst>
            <pc:docMk/>
            <pc:sldMasterMk cId="3852015802" sldId="2147484877"/>
            <pc:sldLayoutMk cId="4031173605" sldId="2147484966"/>
          </pc:sldLayoutMkLst>
        </pc:sldLayoutChg>
      </pc:sldMasterChg>
    </pc:docChg>
  </pc:docChgLst>
  <pc:docChgLst>
    <pc:chgData name="Christopher Lim" userId="f968ec5d-ece7-49c7-b2a7-1e73f064a379" providerId="ADAL" clId="{EF724263-2F27-41AF-8734-79E5EBD31635}"/>
    <pc:docChg chg="undo custSel modSld">
      <pc:chgData name="Christopher Lim" userId="f968ec5d-ece7-49c7-b2a7-1e73f064a379" providerId="ADAL" clId="{EF724263-2F27-41AF-8734-79E5EBD31635}" dt="2021-03-12T14:45:44.573" v="2" actId="1076"/>
      <pc:docMkLst>
        <pc:docMk/>
      </pc:docMkLst>
      <pc:sldChg chg="modSp mod">
        <pc:chgData name="Christopher Lim" userId="f968ec5d-ece7-49c7-b2a7-1e73f064a379" providerId="ADAL" clId="{EF724263-2F27-41AF-8734-79E5EBD31635}" dt="2021-03-12T14:45:44.573" v="2" actId="1076"/>
        <pc:sldMkLst>
          <pc:docMk/>
          <pc:sldMk cId="2506490465" sldId="3103"/>
        </pc:sldMkLst>
        <pc:picChg chg="mod">
          <ac:chgData name="Christopher Lim" userId="f968ec5d-ece7-49c7-b2a7-1e73f064a379" providerId="ADAL" clId="{EF724263-2F27-41AF-8734-79E5EBD31635}" dt="2021-03-12T14:45:41.778" v="0" actId="1076"/>
          <ac:picMkLst>
            <pc:docMk/>
            <pc:sldMk cId="2506490465" sldId="3103"/>
            <ac:picMk id="10" creationId="{50C93430-7E07-4BDE-898E-4D957BA34EFC}"/>
          </ac:picMkLst>
        </pc:picChg>
        <pc:picChg chg="mod">
          <ac:chgData name="Christopher Lim" userId="f968ec5d-ece7-49c7-b2a7-1e73f064a379" providerId="ADAL" clId="{EF724263-2F27-41AF-8734-79E5EBD31635}" dt="2021-03-12T14:45:44.573" v="2" actId="1076"/>
          <ac:picMkLst>
            <pc:docMk/>
            <pc:sldMk cId="2506490465" sldId="3103"/>
            <ac:picMk id="12" creationId="{26BA9A90-A9E2-4530-A13C-2A246E83E73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8/24/2021 12:26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8/24/2021 12:26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151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146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58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5046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6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The data point of 2.2x higher usage of Dynamics 365 is based on data analysis by the FastTrack team </a:t>
            </a:r>
            <a:r>
              <a:rPr lang="en-US" sz="1800">
                <a:effectLst/>
                <a:latin typeface="Segoe UI" panose="020B0502040204020203" pitchFamily="34" charset="0"/>
              </a:rPr>
              <a:t>on the MAU of FastTrack tenants vs non-FastTrack tenants for above 500 seats.</a:t>
            </a:r>
            <a:endParaRPr lang="en-US" sz="1800">
              <a:effectLst/>
              <a:latin typeface="Arial" panose="020B0604020202020204" pitchFamily="34" charset="0"/>
            </a:endParaRPr>
          </a:p>
          <a:p>
            <a:pPr defTabSz="950464">
              <a:spcAft>
                <a:spcPts val="346"/>
              </a:spcAft>
              <a:defRPr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548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53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476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0452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5349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7411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1934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4/2021 12:26 PM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22255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Photo_O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E347669-273E-41F8-86D6-D7D8C09DA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525" y="3793"/>
            <a:ext cx="12469525" cy="698693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925D7E7-2E5D-4A14-A0B0-6CBD592C2D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0956" y="-12699"/>
            <a:ext cx="5943600" cy="699963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29230" y="1223341"/>
            <a:ext cx="5825213" cy="1793104"/>
          </a:xfrm>
          <a:noFill/>
        </p:spPr>
        <p:txBody>
          <a:bodyPr lIns="146304" tIns="91440" rIns="146304" bIns="91440" anchor="t" anchorCtr="0"/>
          <a:lstStyle>
            <a:lvl1pPr>
              <a:defRPr sz="32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27726" y="4454770"/>
            <a:ext cx="5826717" cy="78544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FastTrack Solution Archite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320196-E460-49CB-9974-1931C78D0D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3173413"/>
            <a:ext cx="5826125" cy="51706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Workshop Na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3C3BFC-E8A3-495F-ABE5-C493226AA5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8288" y="6186488"/>
            <a:ext cx="5786437" cy="406265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GB"/>
              <a:t>Created On: dd/MM/</a:t>
            </a:r>
            <a:r>
              <a:rPr lang="en-GB" err="1"/>
              <a:t>yyy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78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7B7AD-21C7-483F-8024-C8E0814F2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6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Pro Semibold" panose="020B07020405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07CA3D-B874-4E31-8B0F-1994911E5A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950" y="1825791"/>
            <a:ext cx="5181560" cy="20553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23ED98-9781-46EE-8028-A67D12684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9934" y="1825791"/>
            <a:ext cx="5183117" cy="20553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8604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45120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5217" y="1189176"/>
            <a:ext cx="5062572" cy="17336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062569" cy="17336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AA63561-31B5-45B8-995A-EDA7562DB62E}"/>
              </a:ext>
            </a:extLst>
          </p:cNvPr>
          <p:cNvSpPr/>
          <p:nvPr userDrawn="1"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rgbClr val="FFC000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r>
              <a:rPr lang="en-US" sz="1800" b="1">
                <a:solidFill>
                  <a:schemeClr val="tx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29224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A970083-3A71-48F6-9BD0-D3686BD2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AB5242A-416F-4F00-9C67-1EF1C6073D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8263" y="1838324"/>
            <a:ext cx="11018520" cy="4587875"/>
          </a:xfrm>
        </p:spPr>
        <p:txBody>
          <a:bodyPr/>
          <a:lstStyle>
            <a:lvl1pPr>
              <a:buSzPct val="100000"/>
              <a:defRPr sz="2000">
                <a:latin typeface="+mn-lt"/>
              </a:defRPr>
            </a:lvl1pPr>
            <a:lvl2pPr>
              <a:buSzPct val="70000"/>
              <a:buFont typeface="Courier New" panose="02070309020205020404" pitchFamily="49" charset="0"/>
              <a:buChar char="o"/>
              <a:defRPr sz="2000">
                <a:latin typeface="+mn-lt"/>
              </a:defRPr>
            </a:lvl2pPr>
            <a:lvl3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3pPr>
            <a:lvl4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4pPr>
            <a:lvl5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10F35C-F5C7-474E-8739-D7BA8C2F7C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263" y="1189038"/>
            <a:ext cx="11018520" cy="461665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  <a:lvl2pPr marL="336145" indent="0">
              <a:buFontTx/>
              <a:buNone/>
              <a:defRPr sz="2000"/>
            </a:lvl2pPr>
            <a:lvl3pPr marL="560241" indent="0">
              <a:buFontTx/>
              <a:buNone/>
              <a:defRPr sz="2000"/>
            </a:lvl3pPr>
            <a:lvl4pPr marL="784338" indent="0">
              <a:buFontTx/>
              <a:buNone/>
              <a:defRPr sz="2000"/>
            </a:lvl4pPr>
            <a:lvl5pPr marL="1008434" indent="0">
              <a:buFontTx/>
              <a:buNone/>
              <a:defRPr sz="2000"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BB6C98-FFDE-474F-B972-E6DE38A0178E}"/>
              </a:ext>
            </a:extLst>
          </p:cNvPr>
          <p:cNvSpPr/>
          <p:nvPr userDrawn="1"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rgbClr val="FFC000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r>
              <a:rPr lang="en-US" sz="1800" b="1">
                <a:solidFill>
                  <a:schemeClr val="tx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37623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5217" y="1189176"/>
            <a:ext cx="5062572" cy="17336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062569" cy="173368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759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A970083-3A71-48F6-9BD0-D3686BD2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AB5242A-416F-4F00-9C67-1EF1C6073DC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8263" y="1838324"/>
            <a:ext cx="11018520" cy="4587875"/>
          </a:xfrm>
        </p:spPr>
        <p:txBody>
          <a:bodyPr/>
          <a:lstStyle>
            <a:lvl1pPr>
              <a:buSzPct val="100000"/>
              <a:defRPr sz="2000">
                <a:latin typeface="+mn-lt"/>
              </a:defRPr>
            </a:lvl1pPr>
            <a:lvl2pPr>
              <a:buSzPct val="70000"/>
              <a:buFont typeface="Courier New" panose="02070309020205020404" pitchFamily="49" charset="0"/>
              <a:buChar char="o"/>
              <a:defRPr sz="2000">
                <a:latin typeface="+mn-lt"/>
              </a:defRPr>
            </a:lvl2pPr>
            <a:lvl3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3pPr>
            <a:lvl4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4pPr>
            <a:lvl5pPr>
              <a:buSzPct val="60000"/>
              <a:buFont typeface="Wingdings" panose="05000000000000000000" pitchFamily="2" charset="2"/>
              <a:buChar char="§"/>
              <a:defRPr sz="2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E10F35C-F5C7-474E-8739-D7BA8C2F7C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263" y="1189038"/>
            <a:ext cx="11018520" cy="461665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</a:defRPr>
            </a:lvl1pPr>
            <a:lvl2pPr marL="336145" indent="0">
              <a:buFontTx/>
              <a:buNone/>
              <a:defRPr sz="2000"/>
            </a:lvl2pPr>
            <a:lvl3pPr marL="560241" indent="0">
              <a:buFontTx/>
              <a:buNone/>
              <a:defRPr sz="2000"/>
            </a:lvl3pPr>
            <a:lvl4pPr marL="784338" indent="0">
              <a:buFontTx/>
              <a:buNone/>
              <a:defRPr sz="2000"/>
            </a:lvl4pPr>
            <a:lvl5pPr marL="1008434" indent="0">
              <a:buFontTx/>
              <a:buNone/>
              <a:defRPr sz="2000"/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3199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51284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38554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74405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phic 48">
            <a:extLst>
              <a:ext uri="{FF2B5EF4-FFF2-40B4-BE49-F238E27FC236}">
                <a16:creationId xmlns:a16="http://schemas.microsoft.com/office/drawing/2014/main" id="{B36951B0-9DD1-9642-A782-90F1E7DB8FA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9494791" y="2855691"/>
            <a:ext cx="6858001" cy="114661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78" r:id="rId2"/>
    <p:sldLayoutId id="2147484979" r:id="rId3"/>
    <p:sldLayoutId id="2147484980" r:id="rId4"/>
    <p:sldLayoutId id="2147484983" r:id="rId5"/>
    <p:sldLayoutId id="2147484984" r:id="rId6"/>
    <p:sldLayoutId id="2147484981" r:id="rId7"/>
    <p:sldLayoutId id="2147484639" r:id="rId8"/>
    <p:sldLayoutId id="2147484640" r:id="rId9"/>
    <p:sldLayoutId id="2147484583" r:id="rId10"/>
    <p:sldLayoutId id="2147484987" r:id="rId1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9EC9C0-C18C-43CA-A499-AE3185FAF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103" y="1962250"/>
            <a:ext cx="5509097" cy="2400657"/>
          </a:xfrm>
        </p:spPr>
        <p:txBody>
          <a:bodyPr/>
          <a:lstStyle/>
          <a:p>
            <a:r>
              <a:rPr lang="en-GB" sz="3600" dirty="0"/>
              <a:t>Dynamics 365 Dual-Write Implementation Workshop</a:t>
            </a:r>
            <a:br>
              <a:rPr lang="en-GB" sz="3600" dirty="0"/>
            </a:br>
            <a:endParaRPr lang="en-GB" sz="3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290B24-4D84-4F01-8125-D2F3E5C765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8288" y="6186488"/>
            <a:ext cx="5786437" cy="24622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24 August 2021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4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Business Process Strategy</a:t>
            </a:r>
          </a:p>
        </p:txBody>
      </p:sp>
    </p:spTree>
    <p:extLst>
      <p:ext uri="{BB962C8B-B14F-4D97-AF65-F5344CB8AC3E}">
        <p14:creationId xmlns:p14="http://schemas.microsoft.com/office/powerpoint/2010/main" val="40692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700" dirty="0">
                <a:latin typeface="Segoe Pro Semibold"/>
                <a:cs typeface="Segoe UI"/>
              </a:rPr>
              <a:t>Business Process Strategy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37B5C29-8556-422F-AFB3-1FA2E1530905}"/>
              </a:ext>
            </a:extLst>
          </p:cNvPr>
          <p:cNvSpPr txBox="1">
            <a:spLocks/>
          </p:cNvSpPr>
          <p:nvPr/>
        </p:nvSpPr>
        <p:spPr>
          <a:xfrm>
            <a:off x="269237" y="6215748"/>
            <a:ext cx="9435201" cy="433965"/>
          </a:xfrm>
          <a:prstGeom prst="rect">
            <a:avLst/>
          </a:prstGeom>
        </p:spPr>
        <p:txBody>
          <a:bodyPr anchor="t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A blueprint that provides a conceptual view of the data integration data flows being implemented.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Example: The sales process, Field Service process, or custom regulatory process, etc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28C16A-CE6B-418A-9FEA-E4FC3890B662}"/>
              </a:ext>
            </a:extLst>
          </p:cNvPr>
          <p:cNvSpPr txBox="1"/>
          <p:nvPr/>
        </p:nvSpPr>
        <p:spPr>
          <a:xfrm>
            <a:off x="-46638" y="1191512"/>
            <a:ext cx="11109675" cy="911019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 defTabSz="914367">
              <a:buSzPct val="100000"/>
            </a:pPr>
            <a:r>
              <a:rPr lang="en-US" sz="2000" b="1" dirty="0"/>
              <a:t>Dynamics 365 Apps: </a:t>
            </a:r>
            <a:r>
              <a:rPr lang="en-US" sz="2000" dirty="0"/>
              <a:t>Sales / Customer Service / PSA / Field Service / Marketing / Finance</a:t>
            </a:r>
          </a:p>
          <a:p>
            <a:pPr defTabSz="914367">
              <a:buSzPct val="100000"/>
            </a:pPr>
            <a:r>
              <a:rPr lang="en-US" sz="2000" b="1" dirty="0"/>
              <a:t>Process: </a:t>
            </a:r>
            <a:r>
              <a:rPr lang="en-US" sz="2000" dirty="0"/>
              <a:t>&lt;Process Name&gt;</a:t>
            </a:r>
          </a:p>
        </p:txBody>
      </p:sp>
      <p:pic>
        <p:nvPicPr>
          <p:cNvPr id="5" name="Picture 4" descr="Example of business process strategy to be replaced with your customer's business process strategy. ">
            <a:extLst>
              <a:ext uri="{FF2B5EF4-FFF2-40B4-BE49-F238E27FC236}">
                <a16:creationId xmlns:a16="http://schemas.microsoft.com/office/drawing/2014/main" id="{43BD8A21-FF2D-463C-877F-512295126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6642" y="2221844"/>
            <a:ext cx="8194275" cy="389621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A55F941-50DA-4B52-A77B-9C6FBB52ACBD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1FECD6-A806-484A-8C8F-5CB0DCB4DADD}"/>
              </a:ext>
            </a:extLst>
          </p:cNvPr>
          <p:cNvSpPr txBox="1">
            <a:spLocks/>
          </p:cNvSpPr>
          <p:nvPr/>
        </p:nvSpPr>
        <p:spPr>
          <a:xfrm>
            <a:off x="9354377" y="6269487"/>
            <a:ext cx="2704908" cy="433965"/>
          </a:xfrm>
          <a:prstGeom prst="rect">
            <a:avLst/>
          </a:prstGeom>
        </p:spPr>
        <p:txBody>
          <a:bodyPr anchor="t"/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fr-FR" sz="1400" dirty="0">
                <a:solidFill>
                  <a:schemeClr val="tx2"/>
                </a:solidFill>
              </a:rPr>
              <a:t>💡 </a:t>
            </a:r>
            <a:r>
              <a:rPr lang="en-US" sz="1400" dirty="0">
                <a:solidFill>
                  <a:schemeClr val="tx2"/>
                </a:solidFill>
              </a:rPr>
              <a:t>Check the Appendix section for App related examples</a:t>
            </a:r>
          </a:p>
        </p:txBody>
      </p:sp>
    </p:spTree>
    <p:extLst>
      <p:ext uri="{BB962C8B-B14F-4D97-AF65-F5344CB8AC3E}">
        <p14:creationId xmlns:p14="http://schemas.microsoft.com/office/powerpoint/2010/main" val="130196984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Integration Strategy</a:t>
            </a:r>
          </a:p>
        </p:txBody>
      </p:sp>
    </p:spTree>
    <p:extLst>
      <p:ext uri="{BB962C8B-B14F-4D97-AF65-F5344CB8AC3E}">
        <p14:creationId xmlns:p14="http://schemas.microsoft.com/office/powerpoint/2010/main" val="35676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cs typeface="Segoe UI"/>
              </a:rPr>
              <a:t>Integration Strategy</a:t>
            </a:r>
            <a:endParaRPr lang="en-US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is number sequencing handled for each app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29895" y="27811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Will filtering source data be required?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84465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9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  <a:cs typeface="Segoe UI"/>
              </a:rPr>
              <a:t>What are the integration triggers?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81DBB4F-4903-4BEB-A79C-16D90851B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6563" y="473031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939EE4CA-7047-4F21-A7ED-1895BBF03690}"/>
              </a:ext>
            </a:extLst>
          </p:cNvPr>
          <p:cNvSpPr/>
          <p:nvPr/>
        </p:nvSpPr>
        <p:spPr>
          <a:xfrm>
            <a:off x="576077" y="4885534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  <a:cs typeface="Segoe UI"/>
              </a:rPr>
              <a:t>Will there be a requirement to have high volumes of data integrated through Dual-Write?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3DF7CE5-525E-4709-A13C-4A7D7AD836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3" y="49836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E50E10B-9649-41F6-BEBB-7FDBF6E9024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Graphic 77">
              <a:extLst>
                <a:ext uri="{FF2B5EF4-FFF2-40B4-BE49-F238E27FC236}">
                  <a16:creationId xmlns:a16="http://schemas.microsoft.com/office/drawing/2014/main" id="{053498FF-7BAB-43A4-A11E-33629F114CE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6" name="Rectangle 95">
            <a:extLst>
              <a:ext uri="{FF2B5EF4-FFF2-40B4-BE49-F238E27FC236}">
                <a16:creationId xmlns:a16="http://schemas.microsoft.com/office/drawing/2014/main" id="{749083AC-9682-4704-9568-DFEAB820850A}"/>
              </a:ext>
            </a:extLst>
          </p:cNvPr>
          <p:cNvSpPr/>
          <p:nvPr/>
        </p:nvSpPr>
        <p:spPr>
          <a:xfrm>
            <a:off x="5613432" y="4828263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</a:rPr>
              <a:t>Y/N</a:t>
            </a:r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681F8A55-B447-40DA-9BD3-1F7BF3C50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6563" y="538840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C3FF514-9C57-4DA4-AE1A-E1B3C16FA80F}"/>
              </a:ext>
            </a:extLst>
          </p:cNvPr>
          <p:cNvSpPr/>
          <p:nvPr/>
        </p:nvSpPr>
        <p:spPr>
          <a:xfrm>
            <a:off x="576077" y="5543624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  <a:cs typeface="Segoe UI"/>
              </a:rPr>
              <a:t>Are there business processes that will trigger a bulk creation or update to integrated records in different apps? 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55B15FBA-E377-4465-BFDB-AC97251848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3" y="564176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C449D6B-A709-49A2-A97D-945756D5142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Graphic 77">
              <a:extLst>
                <a:ext uri="{FF2B5EF4-FFF2-40B4-BE49-F238E27FC236}">
                  <a16:creationId xmlns:a16="http://schemas.microsoft.com/office/drawing/2014/main" id="{B98F68F7-850C-4670-9FEA-B3E3E3F8758B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9DE9865-2CDE-471A-85AF-F115218765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15923" y="1238933"/>
            <a:ext cx="6151057" cy="1267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B236F8-A547-476F-ACDC-F83ABB2D4967}"/>
              </a:ext>
            </a:extLst>
          </p:cNvPr>
          <p:cNvSpPr/>
          <p:nvPr/>
        </p:nvSpPr>
        <p:spPr>
          <a:xfrm>
            <a:off x="5588217" y="3447134"/>
            <a:ext cx="6151057" cy="1267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Examples:</a:t>
            </a:r>
          </a:p>
          <a:p>
            <a:r>
              <a:rPr lang="en-US" sz="1400">
                <a:solidFill>
                  <a:schemeClr val="tx1"/>
                </a:solidFill>
                <a:cs typeface="Segoe UI"/>
              </a:rPr>
              <a:t>Will there be rules that trigger integration other than standard Create, Update or Delete operation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E1855E-8839-4D05-A440-9DFADF60ED05}"/>
              </a:ext>
            </a:extLst>
          </p:cNvPr>
          <p:cNvSpPr/>
          <p:nvPr/>
        </p:nvSpPr>
        <p:spPr>
          <a:xfrm>
            <a:off x="5613432" y="5495887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</a:rPr>
              <a:t>Y/N</a:t>
            </a:r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6DB30C-8FB6-4DD0-B2BD-55CF7076D77A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193308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50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cs typeface="Segoe UI"/>
              </a:rPr>
              <a:t>Integration Strategy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How many legal entities are part of Dual-write integration?</a:t>
            </a: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Is cross-company data sharing being used in F&amp;O apps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84199" y="2781156"/>
            <a:ext cx="498835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Will data sharing across legal entities be used? If yes, will this data be integrated?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288222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89"/>
            <a:ext cx="5042657" cy="869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  <a:cs typeface="Segoe UI"/>
              </a:rPr>
              <a:t>Is there a requirement to sync files across different apps? If so, what is the approach to integrate files? 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9DE9865-2CDE-471A-85AF-F115218765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39015" y="3476990"/>
            <a:ext cx="6151057" cy="30095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endParaRPr lang="en-US" sz="14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A0ADC4-FFE2-4A01-90A8-B39988206D84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297011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2400657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Environment &amp; Capacity Strategy</a:t>
            </a:r>
          </a:p>
        </p:txBody>
      </p:sp>
    </p:spTree>
    <p:extLst>
      <p:ext uri="{BB962C8B-B14F-4D97-AF65-F5344CB8AC3E}">
        <p14:creationId xmlns:p14="http://schemas.microsoft.com/office/powerpoint/2010/main" val="424219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Segoe UI"/>
              </a:rPr>
              <a:t>Environment Strategy</a:t>
            </a:r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10747705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Please describe your environment strategy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9DE9865-2CDE-471A-85AF-F115218765E7}"/>
              </a:ext>
            </a:extLst>
          </p:cNvPr>
          <p:cNvSpPr/>
          <p:nvPr/>
        </p:nvSpPr>
        <p:spPr>
          <a:xfrm>
            <a:off x="468745" y="1971749"/>
            <a:ext cx="11132705" cy="41718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Provide CE and F&amp;O environment details and how they’re connected, including environments that are part of the Application Lifecycle Management strategy (Dev, Test, UAT, etc.)</a:t>
            </a:r>
          </a:p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For production environments, are there multi-environments in a single tenant, single environment, or multi-environments in multi-tenants (across CE and F&amp;O).</a:t>
            </a:r>
          </a:p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Ex.: Environment URL in CE &lt;-&gt; Environment URL in F&amp;O (purpose, legal entities, etc.)</a:t>
            </a:r>
          </a:p>
          <a:p>
            <a:pPr algn="ctr"/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9C310F-ED19-49A2-B1E0-4D3B2CD7B2BA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62989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88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Segoe UI"/>
              </a:rPr>
              <a:t>Environment Strategy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Are you planning to use trial environments during the implementation for dual-write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Will apps be installed in the same tenant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29895" y="27811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Will apps be deployed in the same region?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84465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6185693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In Dataverse/CE: Y/N	In F&amp;O: Y/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9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  <a:cs typeface="Segoe UI"/>
              </a:rPr>
              <a:t>Are there any data sovereignty requirements 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9DCF71-4096-4E13-9F8D-656DD458FE63}"/>
              </a:ext>
            </a:extLst>
          </p:cNvPr>
          <p:cNvSpPr/>
          <p:nvPr/>
        </p:nvSpPr>
        <p:spPr>
          <a:xfrm>
            <a:off x="5615923" y="3476990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Y/N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BFA99B5-82F7-42EB-A773-7C4D1BE9E2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404913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EEED2676-3677-42A9-8642-B4F62A8C9624}"/>
              </a:ext>
            </a:extLst>
          </p:cNvPr>
          <p:cNvSpPr/>
          <p:nvPr/>
        </p:nvSpPr>
        <p:spPr>
          <a:xfrm>
            <a:off x="564532" y="415817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Is there an alignment of your release process across different apps?</a:t>
            </a:r>
            <a:endParaRPr lang="en-US" sz="1600" dirty="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E6411E6-66A8-4F17-B8F2-C2CB3E8A7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198" y="425630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DB18867-AAC5-477C-B21F-0CEF00BEAC4B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Graphic 77">
              <a:extLst>
                <a:ext uri="{FF2B5EF4-FFF2-40B4-BE49-F238E27FC236}">
                  <a16:creationId xmlns:a16="http://schemas.microsoft.com/office/drawing/2014/main" id="{A3255CEF-850E-49B7-A4AE-A08CFD84A41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ABF6CD3E-2365-45EF-9596-7CBCCE22E59B}"/>
              </a:ext>
            </a:extLst>
          </p:cNvPr>
          <p:cNvSpPr/>
          <p:nvPr/>
        </p:nvSpPr>
        <p:spPr>
          <a:xfrm>
            <a:off x="5639014" y="415817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Y/N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81DBB4F-4903-4BEB-A79C-16D90851B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6563" y="473031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939EE4CA-7047-4F21-A7ED-1895BBF03690}"/>
              </a:ext>
            </a:extLst>
          </p:cNvPr>
          <p:cNvSpPr/>
          <p:nvPr/>
        </p:nvSpPr>
        <p:spPr>
          <a:xfrm>
            <a:off x="576077" y="4885534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  <a:cs typeface="Segoe UI"/>
              </a:rPr>
              <a:t>Is there a monitoring process for Dual Write integration status and errors?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F3DF7CE5-525E-4709-A13C-4A7D7AD836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3" y="49836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E50E10B-9649-41F6-BEBB-7FDBF6E9024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Graphic 77">
              <a:extLst>
                <a:ext uri="{FF2B5EF4-FFF2-40B4-BE49-F238E27FC236}">
                  <a16:creationId xmlns:a16="http://schemas.microsoft.com/office/drawing/2014/main" id="{053498FF-7BAB-43A4-A11E-33629F114CE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45069E1-3679-425B-9DFF-D6E634C0227E}"/>
              </a:ext>
            </a:extLst>
          </p:cNvPr>
          <p:cNvSpPr/>
          <p:nvPr/>
        </p:nvSpPr>
        <p:spPr>
          <a:xfrm>
            <a:off x="5639015" y="4885534"/>
            <a:ext cx="6151057" cy="1607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Add approach for monitor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03B902-6931-4802-B340-0CACB0FD122B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416065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181862"/>
          </a:xfrm>
        </p:spPr>
        <p:txBody>
          <a:bodyPr/>
          <a:lstStyle/>
          <a:p>
            <a:r>
              <a:rPr lang="en-GB" sz="7200">
                <a:solidFill>
                  <a:schemeClr val="tx1"/>
                </a:solidFill>
              </a:rPr>
              <a:t>Data Strategy</a:t>
            </a:r>
          </a:p>
        </p:txBody>
      </p:sp>
    </p:spTree>
    <p:extLst>
      <p:ext uri="{BB962C8B-B14F-4D97-AF65-F5344CB8AC3E}">
        <p14:creationId xmlns:p14="http://schemas.microsoft.com/office/powerpoint/2010/main" val="186870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19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cs typeface="Segoe UI"/>
              </a:rPr>
              <a:t>Data Strategy</a:t>
            </a:r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10747705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will be the approach to migrate data (Third-party tools, Initial Sync, etc.)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9DE9865-2CDE-471A-85AF-F115218765E7}"/>
              </a:ext>
            </a:extLst>
          </p:cNvPr>
          <p:cNvSpPr/>
          <p:nvPr/>
        </p:nvSpPr>
        <p:spPr>
          <a:xfrm>
            <a:off x="468745" y="1971749"/>
            <a:ext cx="11132705" cy="41718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Provide data migration strategy across CE and F&amp;O. Including tools, volumes and timelines.</a:t>
            </a:r>
          </a:p>
          <a:p>
            <a:pPr algn="ctr"/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310329-AB73-4E95-B340-956E70B795F1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4573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ual-Write Workshop Agenda</a:t>
            </a:r>
            <a:endParaRPr lang="en-GB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50DF09-0D7B-4F8E-8ACF-13567A221AF3}"/>
              </a:ext>
            </a:extLst>
          </p:cNvPr>
          <p:cNvSpPr/>
          <p:nvPr/>
        </p:nvSpPr>
        <p:spPr>
          <a:xfrm>
            <a:off x="1500053" y="1374543"/>
            <a:ext cx="4621220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US" sz="2000">
                <a:ln w="3175">
                  <a:noFill/>
                </a:ln>
                <a:solidFill>
                  <a:srgbClr val="0B5569"/>
                </a:solidFill>
                <a:latin typeface="Segoe UI Semibold"/>
                <a:cs typeface="Segoe UI" pitchFamily="34" charset="0"/>
              </a:rPr>
              <a:t>Agend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77907F9-2172-46A3-AEA0-8DD4122F217B}"/>
              </a:ext>
            </a:extLst>
          </p:cNvPr>
          <p:cNvSpPr/>
          <p:nvPr/>
        </p:nvSpPr>
        <p:spPr>
          <a:xfrm>
            <a:off x="6121273" y="1374543"/>
            <a:ext cx="5613527" cy="514055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r>
              <a:rPr lang="en-GB" sz="1600" dirty="0">
                <a:solidFill>
                  <a:schemeClr val="tx1"/>
                </a:solidFill>
              </a:rPr>
              <a:t>Understand your DW Design, provide best practices review, highlight any risks and gaps in the plan. Product roadmap and release alignment.</a:t>
            </a:r>
          </a:p>
        </p:txBody>
      </p:sp>
      <p:sp>
        <p:nvSpPr>
          <p:cNvPr id="42" name="Rectangle: Rounded Corners 14">
            <a:extLst>
              <a:ext uri="{FF2B5EF4-FFF2-40B4-BE49-F238E27FC236}">
                <a16:creationId xmlns:a16="http://schemas.microsoft.com/office/drawing/2014/main" id="{FCCFC8E7-228A-485F-B89E-E8B4B03CC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06ADDC-D360-4A0F-91FF-B494A9B96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94318" y="1349375"/>
            <a:ext cx="0" cy="49451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A8E8564-839D-4D78-B946-D71D10D7F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6121272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C22A46F-A65F-44FE-A7B6-BD3B2FAE95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1896731"/>
            <a:ext cx="5664073" cy="522386"/>
            <a:chOff x="457200" y="2004185"/>
            <a:chExt cx="5664073" cy="5223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909AFD3-772D-428E-8735-D3CC0F3F9928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Application Strategy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343C8747-F64E-4A18-A94A-9D3F8224370C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A72F8EA-291F-4570-84D1-25DC141B48F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Graphic 77">
                <a:extLst>
                  <a:ext uri="{FF2B5EF4-FFF2-40B4-BE49-F238E27FC236}">
                    <a16:creationId xmlns:a16="http://schemas.microsoft.com/office/drawing/2014/main" id="{9A88097F-834B-41ED-84A6-F60654AB22D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FB913BBF-6FE9-4291-9E49-F6769461052B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429D1AB2-FD1C-420E-91FC-D03A20DC1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1273" y="1211265"/>
            <a:ext cx="5613527" cy="16327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B4443CD-27CA-4DBD-A805-FB445344C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472302" y="2894417"/>
            <a:ext cx="809756" cy="809754"/>
            <a:chOff x="6456428" y="2720976"/>
            <a:chExt cx="917704" cy="917702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71E6BB8-F6B2-4A70-9C26-62A830F5F11B}"/>
                </a:ext>
              </a:extLst>
            </p:cNvPr>
            <p:cNvSpPr/>
            <p:nvPr/>
          </p:nvSpPr>
          <p:spPr bwMode="auto">
            <a:xfrm>
              <a:off x="6456428" y="2720976"/>
              <a:ext cx="917704" cy="917702"/>
            </a:xfrm>
            <a:custGeom>
              <a:avLst/>
              <a:gdLst>
                <a:gd name="connsiteX0" fmla="*/ 458852 w 917704"/>
                <a:gd name="connsiteY0" fmla="*/ 33532 h 917702"/>
                <a:gd name="connsiteX1" fmla="*/ 33532 w 917704"/>
                <a:gd name="connsiteY1" fmla="*/ 458851 h 917702"/>
                <a:gd name="connsiteX2" fmla="*/ 458852 w 917704"/>
                <a:gd name="connsiteY2" fmla="*/ 884170 h 917702"/>
                <a:gd name="connsiteX3" fmla="*/ 884172 w 917704"/>
                <a:gd name="connsiteY3" fmla="*/ 458851 h 917702"/>
                <a:gd name="connsiteX4" fmla="*/ 458852 w 917704"/>
                <a:gd name="connsiteY4" fmla="*/ 33532 h 917702"/>
                <a:gd name="connsiteX5" fmla="*/ 458852 w 917704"/>
                <a:gd name="connsiteY5" fmla="*/ 0 h 917702"/>
                <a:gd name="connsiteX6" fmla="*/ 917704 w 917704"/>
                <a:gd name="connsiteY6" fmla="*/ 458851 h 917702"/>
                <a:gd name="connsiteX7" fmla="*/ 458852 w 917704"/>
                <a:gd name="connsiteY7" fmla="*/ 917702 h 917702"/>
                <a:gd name="connsiteX8" fmla="*/ 0 w 917704"/>
                <a:gd name="connsiteY8" fmla="*/ 458851 h 917702"/>
                <a:gd name="connsiteX9" fmla="*/ 458852 w 917704"/>
                <a:gd name="connsiteY9" fmla="*/ 0 h 91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04" h="917702">
                  <a:moveTo>
                    <a:pt x="458852" y="33532"/>
                  </a:moveTo>
                  <a:cubicBezTo>
                    <a:pt x="223954" y="33532"/>
                    <a:pt x="33532" y="223954"/>
                    <a:pt x="33532" y="458851"/>
                  </a:cubicBezTo>
                  <a:cubicBezTo>
                    <a:pt x="33532" y="693748"/>
                    <a:pt x="223954" y="884170"/>
                    <a:pt x="458852" y="884170"/>
                  </a:cubicBezTo>
                  <a:cubicBezTo>
                    <a:pt x="693750" y="884170"/>
                    <a:pt x="884172" y="693748"/>
                    <a:pt x="884172" y="458851"/>
                  </a:cubicBezTo>
                  <a:cubicBezTo>
                    <a:pt x="884172" y="223954"/>
                    <a:pt x="693750" y="33532"/>
                    <a:pt x="458852" y="33532"/>
                  </a:cubicBezTo>
                  <a:close/>
                  <a:moveTo>
                    <a:pt x="458852" y="0"/>
                  </a:moveTo>
                  <a:cubicBezTo>
                    <a:pt x="712269" y="0"/>
                    <a:pt x="917704" y="205435"/>
                    <a:pt x="917704" y="458851"/>
                  </a:cubicBezTo>
                  <a:cubicBezTo>
                    <a:pt x="917704" y="712267"/>
                    <a:pt x="712269" y="917702"/>
                    <a:pt x="458852" y="917702"/>
                  </a:cubicBezTo>
                  <a:cubicBezTo>
                    <a:pt x="205435" y="917702"/>
                    <a:pt x="0" y="712267"/>
                    <a:pt x="0" y="458851"/>
                  </a:cubicBezTo>
                  <a:cubicBezTo>
                    <a:pt x="0" y="205435"/>
                    <a:pt x="205435" y="0"/>
                    <a:pt x="4588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6BDC5852-9503-4CDA-B807-61D5949A5EBC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6678730" y="3009901"/>
              <a:ext cx="473100" cy="339852"/>
            </a:xfrm>
            <a:custGeom>
              <a:avLst/>
              <a:gdLst>
                <a:gd name="T0" fmla="*/ 85 w 231"/>
                <a:gd name="T1" fmla="*/ 0 h 170"/>
                <a:gd name="T2" fmla="*/ 152 w 231"/>
                <a:gd name="T3" fmla="*/ 61 h 170"/>
                <a:gd name="T4" fmla="*/ 0 w 231"/>
                <a:gd name="T5" fmla="*/ 61 h 170"/>
                <a:gd name="T6" fmla="*/ 0 w 231"/>
                <a:gd name="T7" fmla="*/ 105 h 170"/>
                <a:gd name="T8" fmla="*/ 152 w 231"/>
                <a:gd name="T9" fmla="*/ 105 h 170"/>
                <a:gd name="T10" fmla="*/ 85 w 231"/>
                <a:gd name="T11" fmla="*/ 170 h 170"/>
                <a:gd name="T12" fmla="*/ 140 w 231"/>
                <a:gd name="T13" fmla="*/ 170 h 170"/>
                <a:gd name="T14" fmla="*/ 231 w 231"/>
                <a:gd name="T15" fmla="*/ 85 h 170"/>
                <a:gd name="T16" fmla="*/ 140 w 231"/>
                <a:gd name="T17" fmla="*/ 0 h 170"/>
                <a:gd name="T18" fmla="*/ 85 w 231"/>
                <a:gd name="T1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70">
                  <a:moveTo>
                    <a:pt x="85" y="0"/>
                  </a:moveTo>
                  <a:cubicBezTo>
                    <a:pt x="85" y="0"/>
                    <a:pt x="85" y="0"/>
                    <a:pt x="15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105"/>
                  </a:cubicBezTo>
                  <a:cubicBezTo>
                    <a:pt x="0" y="105"/>
                    <a:pt x="0" y="105"/>
                    <a:pt x="152" y="105"/>
                  </a:cubicBezTo>
                  <a:cubicBezTo>
                    <a:pt x="152" y="105"/>
                    <a:pt x="152" y="105"/>
                    <a:pt x="85" y="170"/>
                  </a:cubicBezTo>
                  <a:cubicBezTo>
                    <a:pt x="85" y="170"/>
                    <a:pt x="85" y="170"/>
                    <a:pt x="140" y="170"/>
                  </a:cubicBezTo>
                  <a:cubicBezTo>
                    <a:pt x="140" y="170"/>
                    <a:pt x="140" y="170"/>
                    <a:pt x="231" y="85"/>
                  </a:cubicBezTo>
                  <a:cubicBezTo>
                    <a:pt x="231" y="85"/>
                    <a:pt x="231" y="85"/>
                    <a:pt x="140" y="0"/>
                  </a:cubicBezTo>
                  <a:cubicBezTo>
                    <a:pt x="140" y="0"/>
                    <a:pt x="140" y="0"/>
                    <a:pt x="8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E1CA762-CB82-429E-89B2-E95C130A0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35EF289-2D65-4F5A-B305-094781357BB8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C3AC4F5-B8CF-4C17-AF27-028BA4F2F78A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D9CA0F8-45DB-4452-8902-D59EF6987F2E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F59A492-AF15-447B-8B4C-3EF2C022C1CB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4DF95E9-EB5D-45DC-B6C5-FDB46D7810EC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AF00A7-42CB-487A-A46E-4043059D2A8C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3" name="Rectangle 6">
            <a:extLst>
              <a:ext uri="{FF2B5EF4-FFF2-40B4-BE49-F238E27FC236}">
                <a16:creationId xmlns:a16="http://schemas.microsoft.com/office/drawing/2014/main" id="{58D773B7-673F-419E-B0B9-B5B66FF34DCD}"/>
              </a:ext>
            </a:extLst>
          </p:cNvPr>
          <p:cNvSpPr/>
          <p:nvPr/>
        </p:nvSpPr>
        <p:spPr bwMode="auto">
          <a:xfrm>
            <a:off x="7365322" y="2672644"/>
            <a:ext cx="4369478" cy="1662154"/>
          </a:xfrm>
          <a:prstGeom prst="rect">
            <a:avLst/>
          </a:prstGeom>
          <a:noFill/>
          <a:ln w="100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rgbClr val="0B5569"/>
                </a:solidFill>
                <a:latin typeface="+mj-lt"/>
                <a:ea typeface="Segoe UI" pitchFamily="34" charset="0"/>
                <a:cs typeface="Segoe UI"/>
              </a:rPr>
              <a:t>Attendees</a:t>
            </a:r>
            <a:r>
              <a:rPr lang="en-US" sz="1600" kern="0" dirty="0">
                <a:solidFill>
                  <a:schemeClr val="tx2"/>
                </a:solidFill>
                <a:latin typeface="+mj-lt"/>
                <a:ea typeface="Segoe UI" pitchFamily="34" charset="0"/>
                <a:cs typeface="Segoe UI"/>
              </a:rPr>
              <a:t>: </a:t>
            </a:r>
            <a:r>
              <a:rPr lang="en-GB" sz="1600" dirty="0"/>
              <a:t>Key stakeholders from the customer and partner teams. Solution architects, functional </a:t>
            </a:r>
            <a:br>
              <a:rPr lang="en-GB" sz="1600" dirty="0"/>
            </a:br>
            <a:r>
              <a:rPr lang="en-GB" sz="1600" dirty="0"/>
              <a:t>and technical leads are mandatory.</a:t>
            </a:r>
            <a:endParaRPr lang="en-US" dirty="0"/>
          </a:p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chemeClr val="tx2"/>
                </a:solidFill>
                <a:latin typeface="+mj-lt"/>
                <a:ea typeface="Segoe UI" pitchFamily="34" charset="0"/>
                <a:cs typeface="Segoe UI"/>
              </a:rPr>
              <a:t>Requirements: </a:t>
            </a:r>
            <a:r>
              <a:rPr lang="en-GB" sz="1600" dirty="0"/>
              <a:t>Solution Blueprint WS completed. High level Solution Architecture completed. Project plan and team roles defined.</a:t>
            </a:r>
            <a:endParaRPr lang="en-GB" sz="1600" dirty="0">
              <a:cs typeface="Segoe UI"/>
            </a:endParaRPr>
          </a:p>
        </p:txBody>
      </p:sp>
      <p:sp>
        <p:nvSpPr>
          <p:cNvPr id="104" name="Rectangle: Rounded Corners 12">
            <a:extLst>
              <a:ext uri="{FF2B5EF4-FFF2-40B4-BE49-F238E27FC236}">
                <a16:creationId xmlns:a16="http://schemas.microsoft.com/office/drawing/2014/main" id="{1F9281E3-1F1D-4B02-A80D-710A4BB90B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8174" y="3514347"/>
            <a:ext cx="105306" cy="911078"/>
          </a:xfrm>
          <a:custGeom>
            <a:avLst/>
            <a:gdLst>
              <a:gd name="connsiteX0" fmla="*/ 0 w 301482"/>
              <a:gd name="connsiteY0" fmla="*/ 150741 h 1304170"/>
              <a:gd name="connsiteX1" fmla="*/ 150741 w 301482"/>
              <a:gd name="connsiteY1" fmla="*/ 0 h 1304170"/>
              <a:gd name="connsiteX2" fmla="*/ 150741 w 301482"/>
              <a:gd name="connsiteY2" fmla="*/ 0 h 1304170"/>
              <a:gd name="connsiteX3" fmla="*/ 301482 w 301482"/>
              <a:gd name="connsiteY3" fmla="*/ 150741 h 1304170"/>
              <a:gd name="connsiteX4" fmla="*/ 301482 w 301482"/>
              <a:gd name="connsiteY4" fmla="*/ 1153429 h 1304170"/>
              <a:gd name="connsiteX5" fmla="*/ 150741 w 301482"/>
              <a:gd name="connsiteY5" fmla="*/ 1304170 h 1304170"/>
              <a:gd name="connsiteX6" fmla="*/ 150741 w 301482"/>
              <a:gd name="connsiteY6" fmla="*/ 1304170 h 1304170"/>
              <a:gd name="connsiteX7" fmla="*/ 0 w 301482"/>
              <a:gd name="connsiteY7" fmla="*/ 1153429 h 1304170"/>
              <a:gd name="connsiteX8" fmla="*/ 0 w 301482"/>
              <a:gd name="connsiteY8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8" fmla="*/ 242181 w 301482"/>
              <a:gd name="connsiteY8" fmla="*/ 9144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0" fmla="*/ 0 w 150741"/>
              <a:gd name="connsiteY0" fmla="*/ 0 h 1304170"/>
              <a:gd name="connsiteX1" fmla="*/ 150741 w 150741"/>
              <a:gd name="connsiteY1" fmla="*/ 150741 h 1304170"/>
              <a:gd name="connsiteX2" fmla="*/ 150741 w 150741"/>
              <a:gd name="connsiteY2" fmla="*/ 1153429 h 1304170"/>
              <a:gd name="connsiteX3" fmla="*/ 0 w 150741"/>
              <a:gd name="connsiteY3" fmla="*/ 1304170 h 1304170"/>
              <a:gd name="connsiteX4" fmla="*/ 0 w 150741"/>
              <a:gd name="connsiteY4" fmla="*/ 1304170 h 130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41" h="1304170">
                <a:moveTo>
                  <a:pt x="0" y="0"/>
                </a:moveTo>
                <a:cubicBezTo>
                  <a:pt x="83252" y="0"/>
                  <a:pt x="150741" y="67489"/>
                  <a:pt x="150741" y="150741"/>
                </a:cubicBezTo>
                <a:lnTo>
                  <a:pt x="150741" y="1153429"/>
                </a:lnTo>
                <a:cubicBezTo>
                  <a:pt x="150741" y="1236681"/>
                  <a:pt x="83252" y="1304170"/>
                  <a:pt x="0" y="1304170"/>
                </a:cubicBezTo>
                <a:lnTo>
                  <a:pt x="0" y="1304170"/>
                </a:lnTo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765">
              <a:latin typeface="Segoe UI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EDF2D41-DDF7-421A-9AA6-9F52B9808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3823063"/>
            <a:ext cx="5664073" cy="522386"/>
            <a:chOff x="457200" y="2004185"/>
            <a:chExt cx="5664073" cy="522386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3556F945-B58E-4666-923E-2AF6AF189B84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Data Strategy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B5E67AEB-332C-4276-BD99-B3E959FEDCE0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F45B6AB7-66A4-4089-9C7C-6092A78AFB64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4" name="Graphic 77">
                <a:extLst>
                  <a:ext uri="{FF2B5EF4-FFF2-40B4-BE49-F238E27FC236}">
                    <a16:creationId xmlns:a16="http://schemas.microsoft.com/office/drawing/2014/main" id="{1093EB0D-4C6B-4CF4-A525-FD876E23562D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D320F3F-4A6A-4FD9-863F-A2C8C4E7E44E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E5DC04DA-174D-4201-859F-6537472F0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4786229"/>
            <a:ext cx="5664073" cy="522386"/>
            <a:chOff x="457200" y="2004185"/>
            <a:chExt cx="5664073" cy="522386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C616902F-1E3C-4232-8256-380FA38B661B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Security Strategy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38797BED-ED4C-4B8E-9377-8311F632CE41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3B44F203-611B-4677-8764-A25C9D11644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0" name="Graphic 77">
                <a:extLst>
                  <a:ext uri="{FF2B5EF4-FFF2-40B4-BE49-F238E27FC236}">
                    <a16:creationId xmlns:a16="http://schemas.microsoft.com/office/drawing/2014/main" id="{764D6047-00B9-483F-A8CB-CE1FC1AD1B3F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4531F7B6-FE5C-43B5-BF5A-F158470CFFA9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E3D8818D-2E05-4934-8A93-7234435AF7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2378314"/>
            <a:ext cx="5664073" cy="522386"/>
            <a:chOff x="457200" y="2004185"/>
            <a:chExt cx="5664073" cy="522386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38D32D9F-467E-4A2D-9AED-406892245354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Business Process Strategy</a:t>
              </a: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63D4AB4F-42D5-4B3E-99AC-D830C1458414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ECB44B1D-ADD2-4329-8F32-FF7FB04E04B1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6" name="Graphic 77">
                <a:extLst>
                  <a:ext uri="{FF2B5EF4-FFF2-40B4-BE49-F238E27FC236}">
                    <a16:creationId xmlns:a16="http://schemas.microsoft.com/office/drawing/2014/main" id="{CEDD8CCB-5B36-453E-AA8B-A506C694FCE1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E889D5B-1455-49F8-B093-4821CDEAB72B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FD140AE3-8535-4858-9BF3-2ABD21F831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5267812"/>
            <a:ext cx="5664073" cy="522386"/>
            <a:chOff x="457200" y="2004185"/>
            <a:chExt cx="5664073" cy="522386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9150FE0-C79E-4135-B294-9D5412167289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Gaps &amp; Risks</a:t>
              </a: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E1E523A3-AC00-48E9-9CB6-0E7AE328ED05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CC86E62A-2402-4055-ADC3-A3BB45D04D9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2" name="Graphic 77">
                <a:extLst>
                  <a:ext uri="{FF2B5EF4-FFF2-40B4-BE49-F238E27FC236}">
                    <a16:creationId xmlns:a16="http://schemas.microsoft.com/office/drawing/2014/main" id="{26A48982-7488-4711-9BA4-764C3B0EDFE8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C64C8ED9-A7C4-4306-AD06-6ED1DC0E7B92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60D8A2C-0E31-44E6-84BC-9CF9F3B2E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4304646"/>
            <a:ext cx="5664073" cy="522386"/>
            <a:chOff x="457200" y="2004185"/>
            <a:chExt cx="5664073" cy="52238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10FA7E56-3E02-432E-A32D-54021729AE90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Test Strategy</a:t>
              </a:r>
            </a:p>
          </p:txBody>
        </p: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2436B1EC-A264-431D-B314-1CBE1F678DA3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B76DC8B5-D475-42D3-B5B8-132F44947E7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8" name="Graphic 77">
                <a:extLst>
                  <a:ext uri="{FF2B5EF4-FFF2-40B4-BE49-F238E27FC236}">
                    <a16:creationId xmlns:a16="http://schemas.microsoft.com/office/drawing/2014/main" id="{B74ADE6A-6497-4143-81C2-6F15D19CB68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37ECA32D-5B21-4E6B-AA87-75889BA02BF0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73C7301D-DAA0-4662-8884-E35F0813B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3341480"/>
            <a:ext cx="5664073" cy="522386"/>
            <a:chOff x="457200" y="2004185"/>
            <a:chExt cx="5664073" cy="522386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FA69D159-9E4E-4C2B-B95C-8409BA2D22DB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Environment &amp; Capacity Strategy</a:t>
              </a: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CA4A12A7-5D3A-4AD6-967A-8F21DE9F6165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8F736F36-025A-4B34-AA2C-7FE2BFE0F51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4" name="Graphic 77">
                <a:extLst>
                  <a:ext uri="{FF2B5EF4-FFF2-40B4-BE49-F238E27FC236}">
                    <a16:creationId xmlns:a16="http://schemas.microsoft.com/office/drawing/2014/main" id="{6C3A1DFF-0054-4207-ADB6-0ADC3AC98C19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5A2AFC71-1A69-4731-B680-0DEA535E170C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7B1E23E1-F82D-462E-B789-FEEA9EC280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788" y="2859897"/>
            <a:ext cx="5664073" cy="522386"/>
            <a:chOff x="457200" y="2004185"/>
            <a:chExt cx="5664073" cy="522386"/>
          </a:xfrm>
        </p:grpSpPr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EFD663BF-EFCB-4A9E-BB5B-1D007524E576}"/>
                </a:ext>
              </a:extLst>
            </p:cNvPr>
            <p:cNvSpPr/>
            <p:nvPr/>
          </p:nvSpPr>
          <p:spPr>
            <a:xfrm>
              <a:off x="464506" y="2004185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 dirty="0">
                  <a:solidFill>
                    <a:schemeClr val="tx1"/>
                  </a:solidFill>
                </a:rPr>
                <a:t>Integration Strategy</a:t>
              </a: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978D5BBB-8277-4B8B-99A3-FD61BA773912}"/>
                </a:ext>
              </a:extLst>
            </p:cNvPr>
            <p:cNvGrpSpPr/>
            <p:nvPr/>
          </p:nvGrpSpPr>
          <p:grpSpPr>
            <a:xfrm>
              <a:off x="688458" y="210232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945829E9-086C-4DC3-9FF7-1683478A34B5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0" name="Graphic 77">
                <a:extLst>
                  <a:ext uri="{FF2B5EF4-FFF2-40B4-BE49-F238E27FC236}">
                    <a16:creationId xmlns:a16="http://schemas.microsoft.com/office/drawing/2014/main" id="{CAA2E00E-25FE-4A57-8C87-528FADF9FCFB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ADF1358-BC7E-4E5F-BC35-4321D9BC1AD6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" y="2526571"/>
              <a:ext cx="5664073" cy="0"/>
            </a:xfrm>
            <a:prstGeom prst="lin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prstDash val="dash"/>
            </a:ln>
          </p:spPr>
        </p:cxnSp>
      </p:grpSp>
    </p:spTree>
    <p:extLst>
      <p:ext uri="{BB962C8B-B14F-4D97-AF65-F5344CB8AC3E}">
        <p14:creationId xmlns:p14="http://schemas.microsoft.com/office/powerpoint/2010/main" val="109487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646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cs typeface="Segoe UI"/>
              </a:rPr>
              <a:t>Data Strategy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Planning to use Initial Sync feature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Is there a responsibility matrix for data migration activities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29895" y="27811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>
                <a:solidFill>
                  <a:schemeClr val="tx1"/>
                </a:solidFill>
              </a:rPr>
              <a:t>Will historical data be migrated and synched?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84465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9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ill there be additional data migration activities post initial go-live?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239DCF71-4096-4E13-9F8D-656DD458FE63}"/>
              </a:ext>
            </a:extLst>
          </p:cNvPr>
          <p:cNvSpPr/>
          <p:nvPr/>
        </p:nvSpPr>
        <p:spPr>
          <a:xfrm>
            <a:off x="5615923" y="3476990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Y/N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BFA99B5-82F7-42EB-A773-7C4D1BE9E2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404913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EEED2676-3677-42A9-8642-B4F62A8C9624}"/>
              </a:ext>
            </a:extLst>
          </p:cNvPr>
          <p:cNvSpPr/>
          <p:nvPr/>
        </p:nvSpPr>
        <p:spPr>
          <a:xfrm>
            <a:off x="564532" y="415817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  <a:cs typeface="Segoe UI"/>
              </a:rPr>
              <a:t>What is the cut-over approach for data migration?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E6411E6-66A8-4F17-B8F2-C2CB3E8A7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198" y="425630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DB18867-AAC5-477C-B21F-0CEF00BEAC4B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Graphic 77">
              <a:extLst>
                <a:ext uri="{FF2B5EF4-FFF2-40B4-BE49-F238E27FC236}">
                  <a16:creationId xmlns:a16="http://schemas.microsoft.com/office/drawing/2014/main" id="{A3255CEF-850E-49B7-A4AE-A08CFD84A41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261C4D65-1709-4AAF-8C60-0CB479D33E5D}"/>
              </a:ext>
            </a:extLst>
          </p:cNvPr>
          <p:cNvSpPr/>
          <p:nvPr/>
        </p:nvSpPr>
        <p:spPr>
          <a:xfrm>
            <a:off x="5615924" y="4204353"/>
            <a:ext cx="6037448" cy="217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Add approach/strateg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982727-9E74-43A8-AD83-664AFCABAE65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91257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Test Strategy</a:t>
            </a:r>
          </a:p>
        </p:txBody>
      </p:sp>
    </p:spTree>
    <p:extLst>
      <p:ext uri="{BB962C8B-B14F-4D97-AF65-F5344CB8AC3E}">
        <p14:creationId xmlns:p14="http://schemas.microsoft.com/office/powerpoint/2010/main" val="16513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190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700">
                <a:cs typeface="Segoe UI"/>
              </a:rPr>
              <a:t>Test Strategy</a:t>
            </a:r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US" sz="1600">
                <a:solidFill>
                  <a:schemeClr val="tx1"/>
                </a:solidFill>
              </a:rPr>
              <a:t>Does your test plan include testing DW synchronization across both platforms?</a:t>
            </a:r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GB" sz="1600" dirty="0">
                <a:solidFill>
                  <a:schemeClr val="tx1"/>
                </a:solidFill>
                <a:cs typeface="Segoe UI"/>
              </a:rPr>
              <a:t>Does the test plan focus on performance for business processes (e.g., Prospect to cash)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E5D124-F338-40D5-B6D2-D0A68A76EE06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F55696F-46A2-481F-91CB-E0C31EE77B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7291" y="4099390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989DCCF-3DBD-4881-9465-BDBE11CF3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7291" y="4863145"/>
            <a:ext cx="6070600" cy="54418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660876A-DB73-423C-8A79-934E4657EFE4}"/>
              </a:ext>
            </a:extLst>
          </p:cNvPr>
          <p:cNvSpPr/>
          <p:nvPr/>
        </p:nvSpPr>
        <p:spPr>
          <a:xfrm>
            <a:off x="552986" y="3469518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identified performance metrics for DW integration, especially for key scenarios?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3178D72-0A63-4001-911A-DFC3FE2D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91836" y="355611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42082C4-5FF4-4E8A-AA0E-5815150D9E4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Graphic 77">
              <a:extLst>
                <a:ext uri="{FF2B5EF4-FFF2-40B4-BE49-F238E27FC236}">
                  <a16:creationId xmlns:a16="http://schemas.microsoft.com/office/drawing/2014/main" id="{1CDF1E97-7C71-49F1-911B-38CF91414368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89A1CC3A-CB47-4482-9F41-2AE58BC987EF}"/>
              </a:ext>
            </a:extLst>
          </p:cNvPr>
          <p:cNvSpPr/>
          <p:nvPr/>
        </p:nvSpPr>
        <p:spPr>
          <a:xfrm>
            <a:off x="552986" y="42530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GB" sz="1600" dirty="0">
                <a:solidFill>
                  <a:schemeClr val="tx1"/>
                </a:solidFill>
                <a:cs typeface="Segoe UI"/>
              </a:rPr>
              <a:t>Are those metrics reviewed after each iteration and included in the design?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CAD4C16-DB9A-4973-888C-4B41A83A8F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91836" y="435119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6132DD4-BAD7-4A94-87E9-C76C82FA6F17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Graphic 77">
              <a:extLst>
                <a:ext uri="{FF2B5EF4-FFF2-40B4-BE49-F238E27FC236}">
                  <a16:creationId xmlns:a16="http://schemas.microsoft.com/office/drawing/2014/main" id="{DB3AB82A-4198-41F6-9A6A-D3F53818634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5D3EF16E-E517-4A73-B0CF-48F47CE2B813}"/>
              </a:ext>
            </a:extLst>
          </p:cNvPr>
          <p:cNvSpPr/>
          <p:nvPr/>
        </p:nvSpPr>
        <p:spPr>
          <a:xfrm>
            <a:off x="5627470" y="3469518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B8097F7-7B43-4D9F-A4E4-7D767AC0490F}"/>
              </a:ext>
            </a:extLst>
          </p:cNvPr>
          <p:cNvSpPr/>
          <p:nvPr/>
        </p:nvSpPr>
        <p:spPr>
          <a:xfrm>
            <a:off x="5627470" y="42530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8D76E61-62D5-4675-BD65-46ADBD187AA4}"/>
              </a:ext>
            </a:extLst>
          </p:cNvPr>
          <p:cNvSpPr/>
          <p:nvPr/>
        </p:nvSpPr>
        <p:spPr>
          <a:xfrm>
            <a:off x="564531" y="5005266"/>
            <a:ext cx="5042657" cy="9465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US" sz="1600" dirty="0">
                <a:solidFill>
                  <a:schemeClr val="tx1"/>
                </a:solidFill>
                <a:cs typeface="Segoe UI"/>
              </a:rPr>
              <a:t>Have you confirmed if the Service levels are according with your needs/expectations? E.g., time that takes for a record to synchronize across both platforms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F32DA58-54AF-4BA1-B238-E450667EC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510340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59E685A-BB26-405C-85FF-53563544162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Graphic 77">
              <a:extLst>
                <a:ext uri="{FF2B5EF4-FFF2-40B4-BE49-F238E27FC236}">
                  <a16:creationId xmlns:a16="http://schemas.microsoft.com/office/drawing/2014/main" id="{A654DC03-7516-427C-ACF4-E4C4E0A0E9E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841F7224-2DBF-4218-B134-964B9A222059}"/>
              </a:ext>
            </a:extLst>
          </p:cNvPr>
          <p:cNvSpPr/>
          <p:nvPr/>
        </p:nvSpPr>
        <p:spPr>
          <a:xfrm>
            <a:off x="5639014" y="500526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400">
                <a:solidFill>
                  <a:schemeClr val="tx1"/>
                </a:solidFill>
                <a:cs typeface="Segoe UI"/>
              </a:rPr>
              <a:t>Y/N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6A333C4-439C-4341-B36F-3730AE6A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6564" y="6025084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EBF612-A689-41B3-B918-C891B46984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4" y="3344725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4B4BDF9-249F-4C87-93ED-25D743AB2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4" y="279370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FF6A1B6-EA03-4F14-9E27-397B1633B3B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Graphic 77">
              <a:extLst>
                <a:ext uri="{FF2B5EF4-FFF2-40B4-BE49-F238E27FC236}">
                  <a16:creationId xmlns:a16="http://schemas.microsoft.com/office/drawing/2014/main" id="{C48AEC4B-E696-478F-A52B-5C128FC1F231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0836E71-FFAA-4171-99D0-F6C8B1CDA7E1}"/>
              </a:ext>
            </a:extLst>
          </p:cNvPr>
          <p:cNvSpPr/>
          <p:nvPr/>
        </p:nvSpPr>
        <p:spPr>
          <a:xfrm>
            <a:off x="529894" y="2714435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GB" sz="1600" dirty="0">
                <a:solidFill>
                  <a:schemeClr val="tx1"/>
                </a:solidFill>
                <a:cs typeface="Segoe UI"/>
              </a:rPr>
              <a:t>Does the test plan include testing planned and unplanned outages/maintenance of each app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49DCE3-A088-4317-BEB4-A44C07B0876F}"/>
              </a:ext>
            </a:extLst>
          </p:cNvPr>
          <p:cNvSpPr/>
          <p:nvPr/>
        </p:nvSpPr>
        <p:spPr>
          <a:xfrm>
            <a:off x="5572551" y="2756183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</p:spTree>
    <p:extLst>
      <p:ext uri="{BB962C8B-B14F-4D97-AF65-F5344CB8AC3E}">
        <p14:creationId xmlns:p14="http://schemas.microsoft.com/office/powerpoint/2010/main" val="297592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Security Strategy</a:t>
            </a:r>
          </a:p>
        </p:txBody>
      </p:sp>
    </p:spTree>
    <p:extLst>
      <p:ext uri="{BB962C8B-B14F-4D97-AF65-F5344CB8AC3E}">
        <p14:creationId xmlns:p14="http://schemas.microsoft.com/office/powerpoint/2010/main" val="24159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F0F282-7CCB-463C-A448-F6F3B2AA5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05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F0F282-7CCB-463C-A448-F6F3B2AA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BFF90E-DEB5-4DA4-9E43-56F9833CA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700" dirty="0">
                <a:cs typeface="Segoe UI"/>
              </a:rPr>
              <a:t>Security Strategy</a:t>
            </a:r>
            <a:endParaRPr lang="en-US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D0B50A-F902-4241-89FB-763FD55BB4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4200" y="1843953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7A8975-C614-4FFD-ADC0-EB503CDCC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68745" y="2627491"/>
            <a:ext cx="618605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71B200B-1ECC-499E-94D0-652AA48D37A2}"/>
              </a:ext>
            </a:extLst>
          </p:cNvPr>
          <p:cNvSpPr/>
          <p:nvPr/>
        </p:nvSpPr>
        <p:spPr>
          <a:xfrm>
            <a:off x="529895" y="121408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tested the access to data across different apps?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EC57544-760F-4D7E-8130-E6B9530A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130067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2A84349-B1E0-474F-8CFE-A6E7A2768C9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6AAD6C1B-2AE8-48CA-9949-D4CDC8D458B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3B2E681-012C-44CE-B7D8-E274060D600C}"/>
              </a:ext>
            </a:extLst>
          </p:cNvPr>
          <p:cNvSpPr/>
          <p:nvPr/>
        </p:nvSpPr>
        <p:spPr>
          <a:xfrm>
            <a:off x="529895" y="1997619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GB" sz="1600">
                <a:solidFill>
                  <a:schemeClr val="tx1"/>
                </a:solidFill>
                <a:cs typeface="Segoe UI"/>
              </a:rPr>
              <a:t>Does your test plan focus on the security aspect as well?</a:t>
            </a: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44F584-1308-42EF-B336-DBC1472576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095756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1CFBCD-F00A-4A0E-9B5F-A123E1353BA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Graphic 77">
              <a:extLst>
                <a:ext uri="{FF2B5EF4-FFF2-40B4-BE49-F238E27FC236}">
                  <a16:creationId xmlns:a16="http://schemas.microsoft.com/office/drawing/2014/main" id="{60D7C3A0-7A42-471D-9D21-DCB7C7D641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0D73C-EBEA-488F-842A-B3D2D6BBA08A}"/>
              </a:ext>
            </a:extLst>
          </p:cNvPr>
          <p:cNvSpPr/>
          <p:nvPr/>
        </p:nvSpPr>
        <p:spPr>
          <a:xfrm>
            <a:off x="529895" y="2781156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GB" sz="1600">
                <a:solidFill>
                  <a:schemeClr val="tx1"/>
                </a:solidFill>
              </a:rPr>
              <a:t>Is the security model aligned across the several applications?</a:t>
            </a: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C4B2B80-E698-4CC5-BE0E-B88580D09B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68745" y="284465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3B3BEC3-824A-4318-BE08-873DB3FABE2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Graphic 77">
              <a:extLst>
                <a:ext uri="{FF2B5EF4-FFF2-40B4-BE49-F238E27FC236}">
                  <a16:creationId xmlns:a16="http://schemas.microsoft.com/office/drawing/2014/main" id="{32D3F9A5-5AD6-4A46-AF84-3E3EE8DD3136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7102FC39-2FAE-4DE7-800A-C3F7E67E6756}"/>
              </a:ext>
            </a:extLst>
          </p:cNvPr>
          <p:cNvSpPr/>
          <p:nvPr/>
        </p:nvSpPr>
        <p:spPr>
          <a:xfrm>
            <a:off x="5604379" y="121408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8D14912-402F-4094-8DA7-836FE9694B76}"/>
              </a:ext>
            </a:extLst>
          </p:cNvPr>
          <p:cNvSpPr/>
          <p:nvPr/>
        </p:nvSpPr>
        <p:spPr>
          <a:xfrm>
            <a:off x="5604379" y="1997619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371745A-B860-4CBF-915C-F9533CCBE5D0}"/>
              </a:ext>
            </a:extLst>
          </p:cNvPr>
          <p:cNvSpPr/>
          <p:nvPr/>
        </p:nvSpPr>
        <p:spPr>
          <a:xfrm>
            <a:off x="5604379" y="2781156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>
                <a:solidFill>
                  <a:schemeClr val="tx1"/>
                </a:solidFill>
              </a:rPr>
              <a:t>Y/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E9F080F-5E04-43AA-B15C-5E0E8BAEAB39}"/>
              </a:ext>
            </a:extLst>
          </p:cNvPr>
          <p:cNvSpPr/>
          <p:nvPr/>
        </p:nvSpPr>
        <p:spPr>
          <a:xfrm>
            <a:off x="541440" y="3476990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" rIns="91440" bIns="4572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the plan to align the security model and make it scalable for future changes (e.g., new legal entities, etc.)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1C15430-3558-45B1-B719-AA01F7D8E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5654" y="357512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F9EF52C-71F2-4037-8292-449D5338437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Graphic 77">
              <a:extLst>
                <a:ext uri="{FF2B5EF4-FFF2-40B4-BE49-F238E27FC236}">
                  <a16:creationId xmlns:a16="http://schemas.microsoft.com/office/drawing/2014/main" id="{7524156D-B9DC-49EB-BD45-4C844E76997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6429E1F-0E7E-485F-ADC0-BA1E16F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473" y="3356405"/>
            <a:ext cx="5955145" cy="34635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129AF898-9F2E-42B1-90CE-8145849AE04F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D2B09A-294E-4860-BF4C-60282A065211}"/>
              </a:ext>
            </a:extLst>
          </p:cNvPr>
          <p:cNvSpPr/>
          <p:nvPr/>
        </p:nvSpPr>
        <p:spPr>
          <a:xfrm>
            <a:off x="5572552" y="3476990"/>
            <a:ext cx="6352528" cy="32131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r>
              <a:rPr lang="en-US" sz="1400" dirty="0">
                <a:solidFill>
                  <a:schemeClr val="tx1"/>
                </a:solidFill>
                <a:cs typeface="Segoe UI"/>
              </a:rPr>
              <a:t>Add approach/strategy</a:t>
            </a:r>
          </a:p>
          <a:p>
            <a:endParaRPr lang="en-US" sz="1400" dirty="0">
              <a:solidFill>
                <a:schemeClr val="tx1"/>
              </a:solidFill>
              <a:cs typeface="Segoe UI"/>
            </a:endParaRPr>
          </a:p>
          <a:p>
            <a:r>
              <a:rPr lang="en-US" sz="1400" dirty="0">
                <a:solidFill>
                  <a:schemeClr val="tx1"/>
                </a:solidFill>
                <a:cs typeface="Segoe UI"/>
              </a:rPr>
              <a:t>Examples:</a:t>
            </a:r>
          </a:p>
          <a:p>
            <a:r>
              <a:rPr lang="en-US" sz="1400" dirty="0">
                <a:solidFill>
                  <a:schemeClr val="tx1"/>
                </a:solidFill>
                <a:latin typeface="Segoe UI" panose="020B0502040204020203" pitchFamily="34" charset="0"/>
              </a:rPr>
              <a:t>Alignment between F&amp;O legal entities and CE Business Units</a:t>
            </a:r>
          </a:p>
          <a:p>
            <a:r>
              <a:rPr lang="en-US" sz="1400" dirty="0">
                <a:solidFill>
                  <a:schemeClr val="tx1"/>
                </a:solidFill>
                <a:effectLst/>
                <a:latin typeface="Segoe UI" panose="020B0502040204020203" pitchFamily="34" charset="0"/>
              </a:rPr>
              <a:t>Record ownership and the impact to record level security</a:t>
            </a:r>
            <a:br>
              <a:rPr lang="en-US" sz="1400" dirty="0">
                <a:solidFill>
                  <a:schemeClr val="tx1"/>
                </a:solidFill>
                <a:effectLst/>
                <a:latin typeface="Segoe UI" panose="020B0502040204020203" pitchFamily="34" charset="0"/>
              </a:rPr>
            </a:br>
            <a:endParaRPr lang="en-US" sz="1400" dirty="0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algn="ctr"/>
            <a:endParaRPr lang="en-US" sz="1200" dirty="0">
              <a:solidFill>
                <a:schemeClr val="tx1"/>
              </a:solidFill>
              <a:cs typeface="Segoe UI"/>
            </a:endParaRPr>
          </a:p>
          <a:p>
            <a:endParaRPr lang="en-US" sz="1400" dirty="0">
              <a:solidFill>
                <a:schemeClr val="tx1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5143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Gaps &amp; Risks</a:t>
            </a:r>
          </a:p>
        </p:txBody>
      </p:sp>
    </p:spTree>
    <p:extLst>
      <p:ext uri="{BB962C8B-B14F-4D97-AF65-F5344CB8AC3E}">
        <p14:creationId xmlns:p14="http://schemas.microsoft.com/office/powerpoint/2010/main" val="244644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BA93B-8FF7-4E5C-8D0C-B629ED7A1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aps &amp; Ris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C243B8-54E7-412D-9FE3-6A538909BF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189176"/>
            <a:ext cx="5059526" cy="1169551"/>
          </a:xfrm>
        </p:spPr>
        <p:txBody>
          <a:bodyPr/>
          <a:lstStyle/>
          <a:p>
            <a:pPr>
              <a:buClr>
                <a:schemeClr val="tx2"/>
              </a:buClr>
            </a:pPr>
            <a:r>
              <a:rPr lang="en-GB" sz="2000" dirty="0">
                <a:solidFill>
                  <a:schemeClr val="tx2"/>
                </a:solidFill>
              </a:rPr>
              <a:t>Product gaps Identified</a:t>
            </a:r>
          </a:p>
          <a:p>
            <a:pPr>
              <a:buClr>
                <a:schemeClr val="tx2"/>
              </a:buClr>
            </a:pPr>
            <a:r>
              <a:rPr lang="en-GB" sz="2000" dirty="0">
                <a:solidFill>
                  <a:schemeClr val="tx2"/>
                </a:solidFill>
              </a:rPr>
              <a:t>Risks identified based on upcoming chan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B97C8-0595-4C69-90F0-320DAC93DE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738664"/>
          </a:xfrm>
        </p:spPr>
        <p:txBody>
          <a:bodyPr/>
          <a:lstStyle/>
          <a:p>
            <a:r>
              <a:rPr lang="en-GB" sz="2000">
                <a:solidFill>
                  <a:schemeClr val="tx1"/>
                </a:solidFill>
              </a:rPr>
              <a:t>* Provide detailed information on this topics if applicable to your Program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3218BD-F31C-4C92-8EDE-98C57A887D88}"/>
              </a:ext>
            </a:extLst>
          </p:cNvPr>
          <p:cNvSpPr/>
          <p:nvPr/>
        </p:nvSpPr>
        <p:spPr>
          <a:xfrm>
            <a:off x="529647" y="2413336"/>
            <a:ext cx="11132705" cy="41718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  <a:cs typeface="Segoe UI"/>
              </a:rPr>
              <a:t>Detail all identified gaps and risks as well as questions that may exist.</a:t>
            </a:r>
          </a:p>
          <a:p>
            <a:pPr algn="ctr"/>
            <a:endParaRPr lang="en-US" sz="1600">
              <a:solidFill>
                <a:schemeClr val="tx1"/>
              </a:solidFill>
              <a:cs typeface="Segoe U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488937-337B-41E2-8E24-C0062C4EE910}"/>
              </a:ext>
            </a:extLst>
          </p:cNvPr>
          <p:cNvSpPr/>
          <p:nvPr/>
        </p:nvSpPr>
        <p:spPr bwMode="auto">
          <a:xfrm>
            <a:off x="7239000" y="-15817"/>
            <a:ext cx="4953000" cy="482600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chemeClr val="bg2">
                    <a:lumMod val="25000"/>
                  </a:schemeClr>
                </a:solidFill>
                <a:ea typeface="Segoe UI" pitchFamily="34" charset="0"/>
                <a:cs typeface="Segoe UI" pitchFamily="34" charset="0"/>
              </a:rPr>
              <a:t>Example – Please update as appropriate</a:t>
            </a:r>
          </a:p>
        </p:txBody>
      </p:sp>
    </p:spTree>
    <p:extLst>
      <p:ext uri="{BB962C8B-B14F-4D97-AF65-F5344CB8AC3E}">
        <p14:creationId xmlns:p14="http://schemas.microsoft.com/office/powerpoint/2010/main" val="8716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07847-E440-4C1F-AC95-45486CEA7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39678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181862"/>
          </a:xfrm>
        </p:spPr>
        <p:txBody>
          <a:bodyPr/>
          <a:lstStyle/>
          <a:p>
            <a:r>
              <a:rPr lang="en-GB" sz="7200">
                <a:solidFill>
                  <a:schemeClr val="tx1"/>
                </a:solidFill>
              </a:rPr>
              <a:t>Introductions</a:t>
            </a:r>
          </a:p>
        </p:txBody>
      </p:sp>
    </p:spTree>
    <p:extLst>
      <p:ext uri="{BB962C8B-B14F-4D97-AF65-F5344CB8AC3E}">
        <p14:creationId xmlns:p14="http://schemas.microsoft.com/office/powerpoint/2010/main" val="185725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sed on Success by Desig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75196-25AE-42C2-A5B1-7F6C4F348016}"/>
              </a:ext>
            </a:extLst>
          </p:cNvPr>
          <p:cNvSpPr/>
          <p:nvPr/>
        </p:nvSpPr>
        <p:spPr>
          <a:xfrm>
            <a:off x="5696485" y="6031470"/>
            <a:ext cx="2210010" cy="369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defTabSz="610041">
              <a:spcBef>
                <a:spcPct val="0"/>
              </a:spcBef>
              <a:spcAft>
                <a:spcPts val="588"/>
              </a:spcAft>
            </a:pPr>
            <a:r>
              <a:rPr lang="en-US" sz="180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Predictable Succes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E98309-55C9-46BD-B1B6-063986E3E5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75962" y="0"/>
            <a:ext cx="3716038" cy="6858000"/>
          </a:xfrm>
          <a:prstGeom prst="rect">
            <a:avLst/>
          </a:prstGeom>
          <a:solidFill>
            <a:srgbClr val="3C3C4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BA30C20-6787-4BB3-8179-5B5EDC08FE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8633" y="1825625"/>
            <a:ext cx="2829492" cy="2829492"/>
          </a:xfrm>
          <a:prstGeom prst="rect">
            <a:avLst/>
          </a:prstGeom>
        </p:spPr>
      </p:pic>
      <p:sp>
        <p:nvSpPr>
          <p:cNvPr id="20" name="Flowchart: Process 11">
            <a:extLst>
              <a:ext uri="{FF2B5EF4-FFF2-40B4-BE49-F238E27FC236}">
                <a16:creationId xmlns:a16="http://schemas.microsoft.com/office/drawing/2014/main" id="{0FA0BA38-8BAF-4BB3-AF94-B5CAD64DB270}"/>
              </a:ext>
            </a:extLst>
          </p:cNvPr>
          <p:cNvSpPr/>
          <p:nvPr/>
        </p:nvSpPr>
        <p:spPr bwMode="auto">
          <a:xfrm>
            <a:off x="9257665" y="2253960"/>
            <a:ext cx="2039620" cy="2005234"/>
          </a:xfrm>
          <a:prstGeom prst="flowChartProcess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4800">
                <a:solidFill>
                  <a:schemeClr val="bg1"/>
                </a:solidFill>
                <a:latin typeface="+mj-lt"/>
                <a:ea typeface="Segoe UI" pitchFamily="34" charset="0"/>
                <a:cs typeface="Segoe UI"/>
              </a:rPr>
              <a:t>2.2x</a:t>
            </a:r>
            <a:endParaRPr lang="en-US" sz="4800">
              <a:solidFill>
                <a:schemeClr val="bg1"/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higher usage of Dynamics 365</a:t>
            </a:r>
            <a:endParaRPr lang="en-US" sz="70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6200C62-9AED-4CF8-970F-3F6CF1F00E30}"/>
              </a:ext>
            </a:extLst>
          </p:cNvPr>
          <p:cNvSpPr txBox="1"/>
          <p:nvPr/>
        </p:nvSpPr>
        <p:spPr>
          <a:xfrm>
            <a:off x="611096" y="6031493"/>
            <a:ext cx="17586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defTabSz="610041">
              <a:spcBef>
                <a:spcPct val="0"/>
              </a:spcBef>
              <a:spcAft>
                <a:spcPts val="588"/>
              </a:spcAft>
            </a:pPr>
            <a:r>
              <a:rPr lang="en-US" sz="180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Early Detec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1099B1-0D2E-4A0B-9A9A-B939C466AD80}"/>
              </a:ext>
            </a:extLst>
          </p:cNvPr>
          <p:cNvSpPr txBox="1"/>
          <p:nvPr/>
        </p:nvSpPr>
        <p:spPr>
          <a:xfrm>
            <a:off x="2959953" y="6031493"/>
            <a:ext cx="2175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0" lvl="1" defTabSz="610041">
              <a:spcBef>
                <a:spcPct val="0"/>
              </a:spcBef>
              <a:spcAft>
                <a:spcPts val="588"/>
              </a:spcAft>
              <a:defRPr sz="180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2pPr>
          </a:lstStyle>
          <a:p>
            <a:pPr lvl="1"/>
            <a:r>
              <a:rPr lang="en-US"/>
              <a:t>Proactive Guidance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5BA403D-076C-4F38-8AC0-C7F5728089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14282" y="5955272"/>
            <a:ext cx="1904717" cy="0"/>
          </a:xfrm>
          <a:prstGeom prst="line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F9873CB-82D5-4862-8319-4C5FD19D5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095253" y="5955272"/>
            <a:ext cx="1904717" cy="0"/>
          </a:xfrm>
          <a:prstGeom prst="line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316BAE6-15A5-42A9-B1A3-B667C89096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772528" y="5956187"/>
            <a:ext cx="1904717" cy="0"/>
          </a:xfrm>
          <a:prstGeom prst="line">
            <a:avLst/>
          </a:prstGeom>
          <a:ln w="12700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167CE6D-8905-45DB-BF4B-8836800EA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97522" y="5227397"/>
            <a:ext cx="600120" cy="600878"/>
            <a:chOff x="710588" y="3908941"/>
            <a:chExt cx="600120" cy="600878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988A33-A5BD-4D65-8797-7FA99C6E2ACD}"/>
                </a:ext>
              </a:extLst>
            </p:cNvPr>
            <p:cNvSpPr/>
            <p:nvPr/>
          </p:nvSpPr>
          <p:spPr>
            <a:xfrm>
              <a:off x="710588" y="3908941"/>
              <a:ext cx="600120" cy="600878"/>
            </a:xfrm>
            <a:custGeom>
              <a:avLst/>
              <a:gdLst>
                <a:gd name="connsiteX0" fmla="*/ 490715 w 600120"/>
                <a:gd name="connsiteY0" fmla="*/ 415630 h 600878"/>
                <a:gd name="connsiteX1" fmla="*/ 443692 w 600120"/>
                <a:gd name="connsiteY1" fmla="*/ 401219 h 600878"/>
                <a:gd name="connsiteX2" fmla="*/ 409562 w 600120"/>
                <a:gd name="connsiteY2" fmla="*/ 367848 h 600878"/>
                <a:gd name="connsiteX3" fmla="*/ 456585 w 600120"/>
                <a:gd name="connsiteY3" fmla="*/ 229812 h 600878"/>
                <a:gd name="connsiteX4" fmla="*/ 229053 w 600120"/>
                <a:gd name="connsiteY4" fmla="*/ 4 h 600878"/>
                <a:gd name="connsiteX5" fmla="*/ 4 w 600120"/>
                <a:gd name="connsiteY5" fmla="*/ 227536 h 600878"/>
                <a:gd name="connsiteX6" fmla="*/ 227536 w 600120"/>
                <a:gd name="connsiteY6" fmla="*/ 456585 h 600878"/>
                <a:gd name="connsiteX7" fmla="*/ 367089 w 600120"/>
                <a:gd name="connsiteY7" fmla="*/ 409562 h 600878"/>
                <a:gd name="connsiteX8" fmla="*/ 400461 w 600120"/>
                <a:gd name="connsiteY8" fmla="*/ 442934 h 600878"/>
                <a:gd name="connsiteX9" fmla="*/ 414871 w 600120"/>
                <a:gd name="connsiteY9" fmla="*/ 490715 h 600878"/>
                <a:gd name="connsiteX10" fmla="*/ 509676 w 600120"/>
                <a:gd name="connsiteY10" fmla="*/ 585520 h 600878"/>
                <a:gd name="connsiteX11" fmla="*/ 584762 w 600120"/>
                <a:gd name="connsiteY11" fmla="*/ 585520 h 600878"/>
                <a:gd name="connsiteX12" fmla="*/ 584762 w 600120"/>
                <a:gd name="connsiteY12" fmla="*/ 510435 h 600878"/>
                <a:gd name="connsiteX13" fmla="*/ 490715 w 600120"/>
                <a:gd name="connsiteY13" fmla="*/ 415630 h 600878"/>
                <a:gd name="connsiteX14" fmla="*/ 229053 w 600120"/>
                <a:gd name="connsiteY14" fmla="*/ 411079 h 600878"/>
                <a:gd name="connsiteX15" fmla="*/ 47028 w 600120"/>
                <a:gd name="connsiteY15" fmla="*/ 229053 h 600878"/>
                <a:gd name="connsiteX16" fmla="*/ 229053 w 600120"/>
                <a:gd name="connsiteY16" fmla="*/ 47028 h 600878"/>
                <a:gd name="connsiteX17" fmla="*/ 411079 w 600120"/>
                <a:gd name="connsiteY17" fmla="*/ 229053 h 600878"/>
                <a:gd name="connsiteX18" fmla="*/ 229053 w 600120"/>
                <a:gd name="connsiteY18" fmla="*/ 411079 h 60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00120" h="600878">
                  <a:moveTo>
                    <a:pt x="490715" y="415630"/>
                  </a:moveTo>
                  <a:cubicBezTo>
                    <a:pt x="478580" y="403495"/>
                    <a:pt x="460378" y="397427"/>
                    <a:pt x="443692" y="401219"/>
                  </a:cubicBezTo>
                  <a:lnTo>
                    <a:pt x="409562" y="367848"/>
                  </a:lnTo>
                  <a:cubicBezTo>
                    <a:pt x="439900" y="328409"/>
                    <a:pt x="456585" y="279869"/>
                    <a:pt x="456585" y="229812"/>
                  </a:cubicBezTo>
                  <a:cubicBezTo>
                    <a:pt x="457344" y="103152"/>
                    <a:pt x="354954" y="763"/>
                    <a:pt x="229053" y="4"/>
                  </a:cubicBezTo>
                  <a:cubicBezTo>
                    <a:pt x="103152" y="-754"/>
                    <a:pt x="763" y="101635"/>
                    <a:pt x="4" y="227536"/>
                  </a:cubicBezTo>
                  <a:cubicBezTo>
                    <a:pt x="-754" y="353438"/>
                    <a:pt x="101635" y="455827"/>
                    <a:pt x="227536" y="456585"/>
                  </a:cubicBezTo>
                  <a:cubicBezTo>
                    <a:pt x="277593" y="456585"/>
                    <a:pt x="326892" y="439900"/>
                    <a:pt x="367089" y="409562"/>
                  </a:cubicBezTo>
                  <a:lnTo>
                    <a:pt x="400461" y="442934"/>
                  </a:lnTo>
                  <a:cubicBezTo>
                    <a:pt x="397427" y="460378"/>
                    <a:pt x="402736" y="477822"/>
                    <a:pt x="414871" y="490715"/>
                  </a:cubicBezTo>
                  <a:lnTo>
                    <a:pt x="509676" y="585520"/>
                  </a:lnTo>
                  <a:cubicBezTo>
                    <a:pt x="530154" y="605998"/>
                    <a:pt x="564284" y="605998"/>
                    <a:pt x="584762" y="585520"/>
                  </a:cubicBezTo>
                  <a:cubicBezTo>
                    <a:pt x="605240" y="565043"/>
                    <a:pt x="605240" y="530913"/>
                    <a:pt x="584762" y="510435"/>
                  </a:cubicBezTo>
                  <a:lnTo>
                    <a:pt x="490715" y="415630"/>
                  </a:lnTo>
                  <a:close/>
                  <a:moveTo>
                    <a:pt x="229053" y="411079"/>
                  </a:moveTo>
                  <a:cubicBezTo>
                    <a:pt x="128181" y="411079"/>
                    <a:pt x="47028" y="329926"/>
                    <a:pt x="47028" y="229053"/>
                  </a:cubicBezTo>
                  <a:cubicBezTo>
                    <a:pt x="47028" y="128181"/>
                    <a:pt x="128181" y="47028"/>
                    <a:pt x="229053" y="47028"/>
                  </a:cubicBezTo>
                  <a:cubicBezTo>
                    <a:pt x="329926" y="47028"/>
                    <a:pt x="411079" y="128181"/>
                    <a:pt x="411079" y="229053"/>
                  </a:cubicBezTo>
                  <a:cubicBezTo>
                    <a:pt x="411079" y="329167"/>
                    <a:pt x="329167" y="411079"/>
                    <a:pt x="229053" y="411079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670363D-95C8-49DE-AE0F-D89AF70BAA6E}"/>
                </a:ext>
              </a:extLst>
            </p:cNvPr>
            <p:cNvSpPr/>
            <p:nvPr/>
          </p:nvSpPr>
          <p:spPr>
            <a:xfrm>
              <a:off x="776576" y="4021662"/>
              <a:ext cx="326887" cy="239957"/>
            </a:xfrm>
            <a:custGeom>
              <a:avLst/>
              <a:gdLst>
                <a:gd name="connsiteX0" fmla="*/ 326129 w 326887"/>
                <a:gd name="connsiteY0" fmla="*/ 104955 h 239957"/>
                <a:gd name="connsiteX1" fmla="*/ 282898 w 326887"/>
                <a:gd name="connsiteY1" fmla="*/ 104955 h 239957"/>
                <a:gd name="connsiteX2" fmla="*/ 273039 w 326887"/>
                <a:gd name="connsiteY2" fmla="*/ 111023 h 239957"/>
                <a:gd name="connsiteX3" fmla="*/ 244218 w 326887"/>
                <a:gd name="connsiteY3" fmla="*/ 142119 h 239957"/>
                <a:gd name="connsiteX4" fmla="*/ 219948 w 326887"/>
                <a:gd name="connsiteY4" fmla="*/ 57932 h 239957"/>
                <a:gd name="connsiteX5" fmla="*/ 203262 w 326887"/>
                <a:gd name="connsiteY5" fmla="*/ 48831 h 239957"/>
                <a:gd name="connsiteX6" fmla="*/ 194161 w 326887"/>
                <a:gd name="connsiteY6" fmla="*/ 57174 h 239957"/>
                <a:gd name="connsiteX7" fmla="*/ 148654 w 326887"/>
                <a:gd name="connsiteY7" fmla="*/ 177766 h 239957"/>
                <a:gd name="connsiteX8" fmla="*/ 117558 w 326887"/>
                <a:gd name="connsiteY8" fmla="*/ 10909 h 239957"/>
                <a:gd name="connsiteX9" fmla="*/ 102389 w 326887"/>
                <a:gd name="connsiteY9" fmla="*/ 291 h 239957"/>
                <a:gd name="connsiteX10" fmla="*/ 91771 w 326887"/>
                <a:gd name="connsiteY10" fmla="*/ 9392 h 239957"/>
                <a:gd name="connsiteX11" fmla="*/ 59158 w 326887"/>
                <a:gd name="connsiteY11" fmla="*/ 104955 h 239957"/>
                <a:gd name="connsiteX12" fmla="*/ 0 w 326887"/>
                <a:gd name="connsiteY12" fmla="*/ 104955 h 239957"/>
                <a:gd name="connsiteX13" fmla="*/ 0 w 326887"/>
                <a:gd name="connsiteY13" fmla="*/ 135293 h 239957"/>
                <a:gd name="connsiteX14" fmla="*/ 69018 w 326887"/>
                <a:gd name="connsiteY14" fmla="*/ 135293 h 239957"/>
                <a:gd name="connsiteX15" fmla="*/ 81912 w 326887"/>
                <a:gd name="connsiteY15" fmla="*/ 123916 h 239957"/>
                <a:gd name="connsiteX16" fmla="*/ 100873 w 326887"/>
                <a:gd name="connsiteY16" fmla="*/ 66275 h 239957"/>
                <a:gd name="connsiteX17" fmla="*/ 131210 w 326887"/>
                <a:gd name="connsiteY17" fmla="*/ 229340 h 239957"/>
                <a:gd name="connsiteX18" fmla="*/ 143345 w 326887"/>
                <a:gd name="connsiteY18" fmla="*/ 239958 h 239957"/>
                <a:gd name="connsiteX19" fmla="*/ 144862 w 326887"/>
                <a:gd name="connsiteY19" fmla="*/ 239958 h 239957"/>
                <a:gd name="connsiteX20" fmla="*/ 157756 w 326887"/>
                <a:gd name="connsiteY20" fmla="*/ 231615 h 239957"/>
                <a:gd name="connsiteX21" fmla="*/ 206296 w 326887"/>
                <a:gd name="connsiteY21" fmla="*/ 104197 h 239957"/>
                <a:gd name="connsiteX22" fmla="*/ 226015 w 326887"/>
                <a:gd name="connsiteY22" fmla="*/ 172457 h 239957"/>
                <a:gd name="connsiteX23" fmla="*/ 242701 w 326887"/>
                <a:gd name="connsiteY23" fmla="*/ 181558 h 239957"/>
                <a:gd name="connsiteX24" fmla="*/ 248769 w 326887"/>
                <a:gd name="connsiteY24" fmla="*/ 177766 h 239957"/>
                <a:gd name="connsiteX25" fmla="*/ 289724 w 326887"/>
                <a:gd name="connsiteY25" fmla="*/ 135293 h 239957"/>
                <a:gd name="connsiteX26" fmla="*/ 326888 w 326887"/>
                <a:gd name="connsiteY26" fmla="*/ 135293 h 239957"/>
                <a:gd name="connsiteX27" fmla="*/ 326888 w 326887"/>
                <a:gd name="connsiteY27" fmla="*/ 104955 h 239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26887" h="239957">
                  <a:moveTo>
                    <a:pt x="326129" y="104955"/>
                  </a:moveTo>
                  <a:lnTo>
                    <a:pt x="282898" y="104955"/>
                  </a:lnTo>
                  <a:cubicBezTo>
                    <a:pt x="279106" y="105714"/>
                    <a:pt x="275314" y="107989"/>
                    <a:pt x="273039" y="111023"/>
                  </a:cubicBezTo>
                  <a:lnTo>
                    <a:pt x="244218" y="142119"/>
                  </a:lnTo>
                  <a:lnTo>
                    <a:pt x="219948" y="57932"/>
                  </a:lnTo>
                  <a:cubicBezTo>
                    <a:pt x="217672" y="51106"/>
                    <a:pt x="210088" y="46556"/>
                    <a:pt x="203262" y="48831"/>
                  </a:cubicBezTo>
                  <a:cubicBezTo>
                    <a:pt x="199470" y="50348"/>
                    <a:pt x="195678" y="52623"/>
                    <a:pt x="194161" y="57174"/>
                  </a:cubicBezTo>
                  <a:lnTo>
                    <a:pt x="148654" y="177766"/>
                  </a:lnTo>
                  <a:lnTo>
                    <a:pt x="117558" y="10909"/>
                  </a:lnTo>
                  <a:cubicBezTo>
                    <a:pt x="116041" y="3324"/>
                    <a:pt x="109215" y="-1226"/>
                    <a:pt x="102389" y="291"/>
                  </a:cubicBezTo>
                  <a:cubicBezTo>
                    <a:pt x="97839" y="1049"/>
                    <a:pt x="94047" y="4841"/>
                    <a:pt x="91771" y="9392"/>
                  </a:cubicBezTo>
                  <a:lnTo>
                    <a:pt x="59158" y="104955"/>
                  </a:lnTo>
                  <a:lnTo>
                    <a:pt x="0" y="104955"/>
                  </a:lnTo>
                  <a:lnTo>
                    <a:pt x="0" y="135293"/>
                  </a:lnTo>
                  <a:lnTo>
                    <a:pt x="69018" y="135293"/>
                  </a:lnTo>
                  <a:cubicBezTo>
                    <a:pt x="75086" y="134535"/>
                    <a:pt x="80395" y="129984"/>
                    <a:pt x="81912" y="123916"/>
                  </a:cubicBezTo>
                  <a:lnTo>
                    <a:pt x="100873" y="66275"/>
                  </a:lnTo>
                  <a:lnTo>
                    <a:pt x="131210" y="229340"/>
                  </a:lnTo>
                  <a:cubicBezTo>
                    <a:pt x="131969" y="235407"/>
                    <a:pt x="137278" y="239958"/>
                    <a:pt x="143345" y="239958"/>
                  </a:cubicBezTo>
                  <a:lnTo>
                    <a:pt x="144862" y="239958"/>
                  </a:lnTo>
                  <a:cubicBezTo>
                    <a:pt x="150171" y="239958"/>
                    <a:pt x="155480" y="236924"/>
                    <a:pt x="157756" y="231615"/>
                  </a:cubicBezTo>
                  <a:lnTo>
                    <a:pt x="206296" y="104197"/>
                  </a:lnTo>
                  <a:lnTo>
                    <a:pt x="226015" y="172457"/>
                  </a:lnTo>
                  <a:cubicBezTo>
                    <a:pt x="228291" y="179283"/>
                    <a:pt x="235117" y="183833"/>
                    <a:pt x="242701" y="181558"/>
                  </a:cubicBezTo>
                  <a:cubicBezTo>
                    <a:pt x="244976" y="180800"/>
                    <a:pt x="247252" y="179283"/>
                    <a:pt x="248769" y="177766"/>
                  </a:cubicBezTo>
                  <a:lnTo>
                    <a:pt x="289724" y="135293"/>
                  </a:lnTo>
                  <a:lnTo>
                    <a:pt x="326888" y="135293"/>
                  </a:lnTo>
                  <a:lnTo>
                    <a:pt x="326888" y="104955"/>
                  </a:lnTo>
                  <a:close/>
                </a:path>
              </a:pathLst>
            </a:custGeom>
            <a:solidFill>
              <a:schemeClr val="accent1"/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" name="Graphic 5" descr="Compass">
            <a:extLst>
              <a:ext uri="{FF2B5EF4-FFF2-40B4-BE49-F238E27FC236}">
                <a16:creationId xmlns:a16="http://schemas.microsoft.com/office/drawing/2014/main" id="{323375BB-609F-4530-A039-A0683DA134DD}"/>
              </a:ext>
            </a:extLst>
          </p:cNvPr>
          <p:cNvGrpSpPr/>
          <p:nvPr/>
        </p:nvGrpSpPr>
        <p:grpSpPr>
          <a:xfrm>
            <a:off x="3763052" y="5246173"/>
            <a:ext cx="576414" cy="576414"/>
            <a:chOff x="3548002" y="3921839"/>
            <a:chExt cx="576414" cy="576414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D28FED1-827E-4BF8-BEF3-49F91CD30FB1}"/>
                </a:ext>
              </a:extLst>
            </p:cNvPr>
            <p:cNvSpPr/>
            <p:nvPr/>
          </p:nvSpPr>
          <p:spPr>
            <a:xfrm>
              <a:off x="3548002" y="3921839"/>
              <a:ext cx="576414" cy="576414"/>
            </a:xfrm>
            <a:custGeom>
              <a:avLst/>
              <a:gdLst>
                <a:gd name="connsiteX0" fmla="*/ 288207 w 576414"/>
                <a:gd name="connsiteY0" fmla="*/ 0 h 576414"/>
                <a:gd name="connsiteX1" fmla="*/ 0 w 576414"/>
                <a:gd name="connsiteY1" fmla="*/ 288207 h 576414"/>
                <a:gd name="connsiteX2" fmla="*/ 288207 w 576414"/>
                <a:gd name="connsiteY2" fmla="*/ 576415 h 576414"/>
                <a:gd name="connsiteX3" fmla="*/ 576415 w 576414"/>
                <a:gd name="connsiteY3" fmla="*/ 288207 h 576414"/>
                <a:gd name="connsiteX4" fmla="*/ 288207 w 576414"/>
                <a:gd name="connsiteY4" fmla="*/ 0 h 576414"/>
                <a:gd name="connsiteX5" fmla="*/ 288207 w 576414"/>
                <a:gd name="connsiteY5" fmla="*/ 45506 h 576414"/>
                <a:gd name="connsiteX6" fmla="*/ 530908 w 576414"/>
                <a:gd name="connsiteY6" fmla="*/ 288207 h 576414"/>
                <a:gd name="connsiteX7" fmla="*/ 288207 w 576414"/>
                <a:gd name="connsiteY7" fmla="*/ 530908 h 576414"/>
                <a:gd name="connsiteX8" fmla="*/ 45506 w 576414"/>
                <a:gd name="connsiteY8" fmla="*/ 288207 h 576414"/>
                <a:gd name="connsiteX9" fmla="*/ 288207 w 576414"/>
                <a:gd name="connsiteY9" fmla="*/ 45506 h 57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414" h="576414">
                  <a:moveTo>
                    <a:pt x="288207" y="0"/>
                  </a:moveTo>
                  <a:cubicBezTo>
                    <a:pt x="128935" y="0"/>
                    <a:pt x="0" y="128935"/>
                    <a:pt x="0" y="288207"/>
                  </a:cubicBezTo>
                  <a:cubicBezTo>
                    <a:pt x="0" y="447480"/>
                    <a:pt x="128935" y="576415"/>
                    <a:pt x="288207" y="576415"/>
                  </a:cubicBezTo>
                  <a:cubicBezTo>
                    <a:pt x="447480" y="576415"/>
                    <a:pt x="576415" y="447480"/>
                    <a:pt x="576415" y="288207"/>
                  </a:cubicBezTo>
                  <a:cubicBezTo>
                    <a:pt x="576415" y="128935"/>
                    <a:pt x="447480" y="0"/>
                    <a:pt x="288207" y="0"/>
                  </a:cubicBezTo>
                  <a:close/>
                  <a:moveTo>
                    <a:pt x="288207" y="45506"/>
                  </a:moveTo>
                  <a:cubicBezTo>
                    <a:pt x="421693" y="45506"/>
                    <a:pt x="530908" y="154722"/>
                    <a:pt x="530908" y="288207"/>
                  </a:cubicBezTo>
                  <a:cubicBezTo>
                    <a:pt x="530908" y="421693"/>
                    <a:pt x="421693" y="530908"/>
                    <a:pt x="288207" y="530908"/>
                  </a:cubicBezTo>
                  <a:cubicBezTo>
                    <a:pt x="154722" y="530908"/>
                    <a:pt x="45506" y="421693"/>
                    <a:pt x="45506" y="288207"/>
                  </a:cubicBezTo>
                  <a:cubicBezTo>
                    <a:pt x="45506" y="154722"/>
                    <a:pt x="154722" y="45506"/>
                    <a:pt x="288207" y="45506"/>
                  </a:cubicBezTo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827924E-87FE-4070-86D2-863B58339188}"/>
                </a:ext>
              </a:extLst>
            </p:cNvPr>
            <p:cNvSpPr/>
            <p:nvPr/>
          </p:nvSpPr>
          <p:spPr>
            <a:xfrm>
              <a:off x="3717892" y="4093246"/>
              <a:ext cx="235116" cy="235116"/>
            </a:xfrm>
            <a:custGeom>
              <a:avLst/>
              <a:gdLst>
                <a:gd name="connsiteX0" fmla="*/ 0 w 235116"/>
                <a:gd name="connsiteY0" fmla="*/ 235117 h 235116"/>
                <a:gd name="connsiteX1" fmla="*/ 166857 w 235116"/>
                <a:gd name="connsiteY1" fmla="*/ 166857 h 235116"/>
                <a:gd name="connsiteX2" fmla="*/ 235117 w 235116"/>
                <a:gd name="connsiteY2" fmla="*/ 0 h 235116"/>
                <a:gd name="connsiteX3" fmla="*/ 68260 w 235116"/>
                <a:gd name="connsiteY3" fmla="*/ 69777 h 235116"/>
                <a:gd name="connsiteX4" fmla="*/ 0 w 235116"/>
                <a:gd name="connsiteY4" fmla="*/ 235117 h 235116"/>
                <a:gd name="connsiteX5" fmla="*/ 118317 w 235116"/>
                <a:gd name="connsiteY5" fmla="*/ 101631 h 235116"/>
                <a:gd name="connsiteX6" fmla="*/ 133486 w 235116"/>
                <a:gd name="connsiteY6" fmla="*/ 116800 h 235116"/>
                <a:gd name="connsiteX7" fmla="*/ 118317 w 235116"/>
                <a:gd name="connsiteY7" fmla="*/ 131969 h 235116"/>
                <a:gd name="connsiteX8" fmla="*/ 103148 w 235116"/>
                <a:gd name="connsiteY8" fmla="*/ 116800 h 235116"/>
                <a:gd name="connsiteX9" fmla="*/ 118317 w 235116"/>
                <a:gd name="connsiteY9" fmla="*/ 101631 h 23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116" h="235116">
                  <a:moveTo>
                    <a:pt x="0" y="235117"/>
                  </a:moveTo>
                  <a:lnTo>
                    <a:pt x="166857" y="166857"/>
                  </a:lnTo>
                  <a:lnTo>
                    <a:pt x="235117" y="0"/>
                  </a:lnTo>
                  <a:lnTo>
                    <a:pt x="68260" y="69777"/>
                  </a:lnTo>
                  <a:lnTo>
                    <a:pt x="0" y="235117"/>
                  </a:lnTo>
                  <a:close/>
                  <a:moveTo>
                    <a:pt x="118317" y="101631"/>
                  </a:moveTo>
                  <a:cubicBezTo>
                    <a:pt x="127418" y="101631"/>
                    <a:pt x="133486" y="107699"/>
                    <a:pt x="133486" y="116800"/>
                  </a:cubicBezTo>
                  <a:cubicBezTo>
                    <a:pt x="133486" y="125901"/>
                    <a:pt x="127418" y="131969"/>
                    <a:pt x="118317" y="131969"/>
                  </a:cubicBezTo>
                  <a:cubicBezTo>
                    <a:pt x="109215" y="131969"/>
                    <a:pt x="103148" y="125901"/>
                    <a:pt x="103148" y="116800"/>
                  </a:cubicBezTo>
                  <a:cubicBezTo>
                    <a:pt x="103148" y="107699"/>
                    <a:pt x="109215" y="101631"/>
                    <a:pt x="118317" y="101631"/>
                  </a:cubicBezTo>
                </a:path>
              </a:pathLst>
            </a:custGeom>
            <a:solidFill>
              <a:schemeClr val="accent1"/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" name="Graphic 3" descr="Bullseye">
            <a:extLst>
              <a:ext uri="{FF2B5EF4-FFF2-40B4-BE49-F238E27FC236}">
                <a16:creationId xmlns:a16="http://schemas.microsoft.com/office/drawing/2014/main" id="{CE5F55F7-5AAE-4F92-88F9-DDBE08576C91}"/>
              </a:ext>
            </a:extLst>
          </p:cNvPr>
          <p:cNvGrpSpPr/>
          <p:nvPr/>
        </p:nvGrpSpPr>
        <p:grpSpPr>
          <a:xfrm>
            <a:off x="6513282" y="5223420"/>
            <a:ext cx="599168" cy="599167"/>
            <a:chOff x="6357349" y="3959609"/>
            <a:chExt cx="599168" cy="599167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0DD9DD0-EC8B-4FE4-99F2-9C89DB945D89}"/>
                </a:ext>
              </a:extLst>
            </p:cNvPr>
            <p:cNvSpPr/>
            <p:nvPr/>
          </p:nvSpPr>
          <p:spPr>
            <a:xfrm>
              <a:off x="6568954" y="3959609"/>
              <a:ext cx="387563" cy="386804"/>
            </a:xfrm>
            <a:custGeom>
              <a:avLst/>
              <a:gdLst>
                <a:gd name="connsiteX0" fmla="*/ 319304 w 387563"/>
                <a:gd name="connsiteY0" fmla="*/ 68260 h 386804"/>
                <a:gd name="connsiteX1" fmla="*/ 311719 w 387563"/>
                <a:gd name="connsiteY1" fmla="*/ 0 h 386804"/>
                <a:gd name="connsiteX2" fmla="*/ 228291 w 387563"/>
                <a:gd name="connsiteY2" fmla="*/ 83428 h 386804"/>
                <a:gd name="connsiteX3" fmla="*/ 232841 w 387563"/>
                <a:gd name="connsiteY3" fmla="*/ 122867 h 386804"/>
                <a:gd name="connsiteX4" fmla="*/ 111491 w 387563"/>
                <a:gd name="connsiteY4" fmla="*/ 244218 h 386804"/>
                <a:gd name="connsiteX5" fmla="*/ 75844 w 387563"/>
                <a:gd name="connsiteY5" fmla="*/ 235117 h 386804"/>
                <a:gd name="connsiteX6" fmla="*/ 0 w 387563"/>
                <a:gd name="connsiteY6" fmla="*/ 310961 h 386804"/>
                <a:gd name="connsiteX7" fmla="*/ 75844 w 387563"/>
                <a:gd name="connsiteY7" fmla="*/ 386805 h 386804"/>
                <a:gd name="connsiteX8" fmla="*/ 151688 w 387563"/>
                <a:gd name="connsiteY8" fmla="*/ 310961 h 386804"/>
                <a:gd name="connsiteX9" fmla="*/ 143345 w 387563"/>
                <a:gd name="connsiteY9" fmla="*/ 276072 h 386804"/>
                <a:gd name="connsiteX10" fmla="*/ 264696 w 387563"/>
                <a:gd name="connsiteY10" fmla="*/ 154722 h 386804"/>
                <a:gd name="connsiteX11" fmla="*/ 304135 w 387563"/>
                <a:gd name="connsiteY11" fmla="*/ 159273 h 386804"/>
                <a:gd name="connsiteX12" fmla="*/ 387563 w 387563"/>
                <a:gd name="connsiteY12" fmla="*/ 75844 h 386804"/>
                <a:gd name="connsiteX13" fmla="*/ 319304 w 387563"/>
                <a:gd name="connsiteY13" fmla="*/ 68260 h 38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7563" h="386804">
                  <a:moveTo>
                    <a:pt x="319304" y="68260"/>
                  </a:moveTo>
                  <a:lnTo>
                    <a:pt x="311719" y="0"/>
                  </a:lnTo>
                  <a:lnTo>
                    <a:pt x="228291" y="83428"/>
                  </a:lnTo>
                  <a:lnTo>
                    <a:pt x="232841" y="122867"/>
                  </a:lnTo>
                  <a:lnTo>
                    <a:pt x="111491" y="244218"/>
                  </a:lnTo>
                  <a:cubicBezTo>
                    <a:pt x="100873" y="238909"/>
                    <a:pt x="88738" y="235117"/>
                    <a:pt x="75844" y="235117"/>
                  </a:cubicBezTo>
                  <a:cubicBezTo>
                    <a:pt x="34130" y="235117"/>
                    <a:pt x="0" y="269246"/>
                    <a:pt x="0" y="310961"/>
                  </a:cubicBezTo>
                  <a:cubicBezTo>
                    <a:pt x="0" y="352675"/>
                    <a:pt x="34130" y="386805"/>
                    <a:pt x="75844" y="386805"/>
                  </a:cubicBezTo>
                  <a:cubicBezTo>
                    <a:pt x="117558" y="386805"/>
                    <a:pt x="151688" y="352675"/>
                    <a:pt x="151688" y="310961"/>
                  </a:cubicBezTo>
                  <a:cubicBezTo>
                    <a:pt x="151688" y="298067"/>
                    <a:pt x="148654" y="286691"/>
                    <a:pt x="143345" y="276072"/>
                  </a:cubicBezTo>
                  <a:lnTo>
                    <a:pt x="264696" y="154722"/>
                  </a:lnTo>
                  <a:lnTo>
                    <a:pt x="304135" y="159273"/>
                  </a:lnTo>
                  <a:lnTo>
                    <a:pt x="387563" y="75844"/>
                  </a:lnTo>
                  <a:lnTo>
                    <a:pt x="319304" y="68260"/>
                  </a:lnTo>
                  <a:close/>
                </a:path>
              </a:pathLst>
            </a:custGeom>
            <a:solidFill>
              <a:schemeClr val="accent1"/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F6F6797-098D-4A9F-82E9-A567118C1B0A}"/>
                </a:ext>
              </a:extLst>
            </p:cNvPr>
            <p:cNvSpPr/>
            <p:nvPr/>
          </p:nvSpPr>
          <p:spPr>
            <a:xfrm>
              <a:off x="6357349" y="3982362"/>
              <a:ext cx="576414" cy="576414"/>
            </a:xfrm>
            <a:custGeom>
              <a:avLst/>
              <a:gdLst>
                <a:gd name="connsiteX0" fmla="*/ 536976 w 576414"/>
                <a:gd name="connsiteY0" fmla="*/ 157756 h 576414"/>
                <a:gd name="connsiteX1" fmla="*/ 527116 w 576414"/>
                <a:gd name="connsiteY1" fmla="*/ 168374 h 576414"/>
                <a:gd name="connsiteX2" fmla="*/ 512706 w 576414"/>
                <a:gd name="connsiteY2" fmla="*/ 166857 h 576414"/>
                <a:gd name="connsiteX3" fmla="*/ 496779 w 576414"/>
                <a:gd name="connsiteY3" fmla="*/ 164582 h 576414"/>
                <a:gd name="connsiteX4" fmla="*/ 530908 w 576414"/>
                <a:gd name="connsiteY4" fmla="*/ 288207 h 576414"/>
                <a:gd name="connsiteX5" fmla="*/ 288207 w 576414"/>
                <a:gd name="connsiteY5" fmla="*/ 530908 h 576414"/>
                <a:gd name="connsiteX6" fmla="*/ 45506 w 576414"/>
                <a:gd name="connsiteY6" fmla="*/ 288207 h 576414"/>
                <a:gd name="connsiteX7" fmla="*/ 288207 w 576414"/>
                <a:gd name="connsiteY7" fmla="*/ 45506 h 576414"/>
                <a:gd name="connsiteX8" fmla="*/ 411833 w 576414"/>
                <a:gd name="connsiteY8" fmla="*/ 79636 h 576414"/>
                <a:gd name="connsiteX9" fmla="*/ 410316 w 576414"/>
                <a:gd name="connsiteY9" fmla="*/ 64467 h 576414"/>
                <a:gd name="connsiteX10" fmla="*/ 408041 w 576414"/>
                <a:gd name="connsiteY10" fmla="*/ 49299 h 576414"/>
                <a:gd name="connsiteX11" fmla="*/ 418659 w 576414"/>
                <a:gd name="connsiteY11" fmla="*/ 38680 h 576414"/>
                <a:gd name="connsiteX12" fmla="*/ 423968 w 576414"/>
                <a:gd name="connsiteY12" fmla="*/ 33371 h 576414"/>
                <a:gd name="connsiteX13" fmla="*/ 288207 w 576414"/>
                <a:gd name="connsiteY13" fmla="*/ 0 h 576414"/>
                <a:gd name="connsiteX14" fmla="*/ 0 w 576414"/>
                <a:gd name="connsiteY14" fmla="*/ 288207 h 576414"/>
                <a:gd name="connsiteX15" fmla="*/ 288207 w 576414"/>
                <a:gd name="connsiteY15" fmla="*/ 576415 h 576414"/>
                <a:gd name="connsiteX16" fmla="*/ 576415 w 576414"/>
                <a:gd name="connsiteY16" fmla="*/ 288207 h 576414"/>
                <a:gd name="connsiteX17" fmla="*/ 542285 w 576414"/>
                <a:gd name="connsiteY17" fmla="*/ 153205 h 576414"/>
                <a:gd name="connsiteX18" fmla="*/ 536976 w 576414"/>
                <a:gd name="connsiteY18" fmla="*/ 157756 h 576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76414" h="576414">
                  <a:moveTo>
                    <a:pt x="536976" y="157756"/>
                  </a:moveTo>
                  <a:lnTo>
                    <a:pt x="527116" y="168374"/>
                  </a:lnTo>
                  <a:lnTo>
                    <a:pt x="512706" y="166857"/>
                  </a:lnTo>
                  <a:lnTo>
                    <a:pt x="496779" y="164582"/>
                  </a:lnTo>
                  <a:cubicBezTo>
                    <a:pt x="518015" y="200987"/>
                    <a:pt x="530908" y="242701"/>
                    <a:pt x="530908" y="288207"/>
                  </a:cubicBezTo>
                  <a:cubicBezTo>
                    <a:pt x="530908" y="421693"/>
                    <a:pt x="421693" y="530908"/>
                    <a:pt x="288207" y="530908"/>
                  </a:cubicBezTo>
                  <a:cubicBezTo>
                    <a:pt x="154722" y="530908"/>
                    <a:pt x="45506" y="421693"/>
                    <a:pt x="45506" y="288207"/>
                  </a:cubicBezTo>
                  <a:cubicBezTo>
                    <a:pt x="45506" y="154722"/>
                    <a:pt x="154722" y="45506"/>
                    <a:pt x="288207" y="45506"/>
                  </a:cubicBezTo>
                  <a:cubicBezTo>
                    <a:pt x="332955" y="45506"/>
                    <a:pt x="375428" y="57641"/>
                    <a:pt x="411833" y="79636"/>
                  </a:cubicBezTo>
                  <a:lnTo>
                    <a:pt x="410316" y="64467"/>
                  </a:lnTo>
                  <a:lnTo>
                    <a:pt x="408041" y="49299"/>
                  </a:lnTo>
                  <a:lnTo>
                    <a:pt x="418659" y="38680"/>
                  </a:lnTo>
                  <a:lnTo>
                    <a:pt x="423968" y="33371"/>
                  </a:lnTo>
                  <a:cubicBezTo>
                    <a:pt x="383013" y="12135"/>
                    <a:pt x="337506" y="0"/>
                    <a:pt x="288207" y="0"/>
                  </a:cubicBezTo>
                  <a:cubicBezTo>
                    <a:pt x="128935" y="0"/>
                    <a:pt x="0" y="128935"/>
                    <a:pt x="0" y="288207"/>
                  </a:cubicBezTo>
                  <a:cubicBezTo>
                    <a:pt x="0" y="447480"/>
                    <a:pt x="128935" y="576415"/>
                    <a:pt x="288207" y="576415"/>
                  </a:cubicBezTo>
                  <a:cubicBezTo>
                    <a:pt x="447480" y="576415"/>
                    <a:pt x="576415" y="447480"/>
                    <a:pt x="576415" y="288207"/>
                  </a:cubicBezTo>
                  <a:cubicBezTo>
                    <a:pt x="576415" y="238909"/>
                    <a:pt x="564280" y="193402"/>
                    <a:pt x="542285" y="153205"/>
                  </a:cubicBezTo>
                  <a:lnTo>
                    <a:pt x="536976" y="157756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EB5461B-DE51-4D46-B937-0B788B7AF5A4}"/>
                </a:ext>
              </a:extLst>
            </p:cNvPr>
            <p:cNvSpPr/>
            <p:nvPr/>
          </p:nvSpPr>
          <p:spPr>
            <a:xfrm>
              <a:off x="6463531" y="4088544"/>
              <a:ext cx="364051" cy="364051"/>
            </a:xfrm>
            <a:custGeom>
              <a:avLst/>
              <a:gdLst>
                <a:gd name="connsiteX0" fmla="*/ 308685 w 364051"/>
                <a:gd name="connsiteY0" fmla="*/ 130452 h 364051"/>
                <a:gd name="connsiteX1" fmla="*/ 318545 w 364051"/>
                <a:gd name="connsiteY1" fmla="*/ 182026 h 364051"/>
                <a:gd name="connsiteX2" fmla="*/ 182026 w 364051"/>
                <a:gd name="connsiteY2" fmla="*/ 318545 h 364051"/>
                <a:gd name="connsiteX3" fmla="*/ 45506 w 364051"/>
                <a:gd name="connsiteY3" fmla="*/ 182026 h 364051"/>
                <a:gd name="connsiteX4" fmla="*/ 182026 w 364051"/>
                <a:gd name="connsiteY4" fmla="*/ 45506 h 364051"/>
                <a:gd name="connsiteX5" fmla="*/ 233600 w 364051"/>
                <a:gd name="connsiteY5" fmla="*/ 55366 h 364051"/>
                <a:gd name="connsiteX6" fmla="*/ 267730 w 364051"/>
                <a:gd name="connsiteY6" fmla="*/ 21236 h 364051"/>
                <a:gd name="connsiteX7" fmla="*/ 182026 w 364051"/>
                <a:gd name="connsiteY7" fmla="*/ 0 h 364051"/>
                <a:gd name="connsiteX8" fmla="*/ 0 w 364051"/>
                <a:gd name="connsiteY8" fmla="*/ 182026 h 364051"/>
                <a:gd name="connsiteX9" fmla="*/ 182026 w 364051"/>
                <a:gd name="connsiteY9" fmla="*/ 364052 h 364051"/>
                <a:gd name="connsiteX10" fmla="*/ 364052 w 364051"/>
                <a:gd name="connsiteY10" fmla="*/ 182026 h 364051"/>
                <a:gd name="connsiteX11" fmla="*/ 342815 w 364051"/>
                <a:gd name="connsiteY11" fmla="*/ 96322 h 364051"/>
                <a:gd name="connsiteX12" fmla="*/ 308685 w 364051"/>
                <a:gd name="connsiteY12" fmla="*/ 130452 h 364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4051" h="364051">
                  <a:moveTo>
                    <a:pt x="308685" y="130452"/>
                  </a:moveTo>
                  <a:cubicBezTo>
                    <a:pt x="315511" y="146379"/>
                    <a:pt x="318545" y="163823"/>
                    <a:pt x="318545" y="182026"/>
                  </a:cubicBezTo>
                  <a:cubicBezTo>
                    <a:pt x="318545" y="257111"/>
                    <a:pt x="257111" y="318545"/>
                    <a:pt x="182026" y="318545"/>
                  </a:cubicBezTo>
                  <a:cubicBezTo>
                    <a:pt x="106940" y="318545"/>
                    <a:pt x="45506" y="257111"/>
                    <a:pt x="45506" y="182026"/>
                  </a:cubicBezTo>
                  <a:cubicBezTo>
                    <a:pt x="45506" y="106940"/>
                    <a:pt x="106940" y="45506"/>
                    <a:pt x="182026" y="45506"/>
                  </a:cubicBezTo>
                  <a:cubicBezTo>
                    <a:pt x="200228" y="45506"/>
                    <a:pt x="217672" y="49299"/>
                    <a:pt x="233600" y="55366"/>
                  </a:cubicBezTo>
                  <a:lnTo>
                    <a:pt x="267730" y="21236"/>
                  </a:lnTo>
                  <a:cubicBezTo>
                    <a:pt x="241943" y="7584"/>
                    <a:pt x="213122" y="0"/>
                    <a:pt x="182026" y="0"/>
                  </a:cubicBezTo>
                  <a:cubicBezTo>
                    <a:pt x="81912" y="0"/>
                    <a:pt x="0" y="81912"/>
                    <a:pt x="0" y="182026"/>
                  </a:cubicBezTo>
                  <a:cubicBezTo>
                    <a:pt x="0" y="282140"/>
                    <a:pt x="81912" y="364052"/>
                    <a:pt x="182026" y="364052"/>
                  </a:cubicBezTo>
                  <a:cubicBezTo>
                    <a:pt x="282140" y="364052"/>
                    <a:pt x="364052" y="282140"/>
                    <a:pt x="364052" y="182026"/>
                  </a:cubicBezTo>
                  <a:cubicBezTo>
                    <a:pt x="364052" y="150930"/>
                    <a:pt x="356467" y="122109"/>
                    <a:pt x="342815" y="96322"/>
                  </a:cubicBezTo>
                  <a:lnTo>
                    <a:pt x="308685" y="13045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75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08412CFE-1DE6-4694-9D97-C3EA1F57928E}"/>
              </a:ext>
            </a:extLst>
          </p:cNvPr>
          <p:cNvSpPr txBox="1"/>
          <p:nvPr/>
        </p:nvSpPr>
        <p:spPr>
          <a:xfrm>
            <a:off x="611096" y="1155531"/>
            <a:ext cx="7573686" cy="39080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Bef>
                <a:spcPts val="2000"/>
              </a:spcBef>
              <a:spcAft>
                <a:spcPts val="600"/>
              </a:spcAft>
            </a:pPr>
            <a:r>
              <a:rPr lang="en-US" sz="1800">
                <a:solidFill>
                  <a:schemeClr val="tx1"/>
                </a:solidFill>
              </a:rPr>
              <a:t>The</a:t>
            </a:r>
            <a:r>
              <a:rPr lang="en-US" sz="1800" i="1">
                <a:solidFill>
                  <a:schemeClr val="tx1"/>
                </a:solidFill>
              </a:rPr>
              <a:t> </a:t>
            </a:r>
            <a:r>
              <a:rPr lang="en-US" sz="1800">
                <a:solidFill>
                  <a:schemeClr val="accent1"/>
                </a:solidFill>
                <a:latin typeface="+mj-lt"/>
              </a:rPr>
              <a:t>Dynamics 365 engineering team</a:t>
            </a:r>
            <a:r>
              <a:rPr lang="en-US" sz="1800" i="1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1800">
                <a:solidFill>
                  <a:schemeClr val="tx1"/>
                </a:solidFill>
              </a:rPr>
              <a:t>brings you the learnings and experiences from </a:t>
            </a:r>
            <a:r>
              <a:rPr lang="en-US" sz="1800">
                <a:solidFill>
                  <a:schemeClr val="accent1"/>
                </a:solidFill>
                <a:latin typeface="+mj-lt"/>
              </a:rPr>
              <a:t>3000+</a:t>
            </a:r>
            <a:r>
              <a:rPr lang="en-US" sz="1800" i="1">
                <a:solidFill>
                  <a:schemeClr val="tx1"/>
                </a:solidFill>
              </a:rPr>
              <a:t> </a:t>
            </a:r>
            <a:r>
              <a:rPr lang="en-US" sz="1800">
                <a:solidFill>
                  <a:schemeClr val="tx1"/>
                </a:solidFill>
              </a:rPr>
              <a:t>cloud deployments through </a:t>
            </a:r>
            <a:r>
              <a:rPr lang="en-US" sz="1800">
                <a:solidFill>
                  <a:schemeClr val="accent1"/>
                </a:solidFill>
                <a:latin typeface="+mj-lt"/>
              </a:rPr>
              <a:t>Success by Design.</a:t>
            </a:r>
          </a:p>
          <a:p>
            <a:pPr algn="l">
              <a:lnSpc>
                <a:spcPct val="114000"/>
              </a:lnSpc>
              <a:spcBef>
                <a:spcPts val="2000"/>
              </a:spcBef>
              <a:spcAft>
                <a:spcPts val="600"/>
              </a:spcAft>
            </a:pPr>
            <a:r>
              <a:rPr lang="en-US" sz="1800">
                <a:solidFill>
                  <a:schemeClr val="accent1"/>
                </a:solidFill>
                <a:latin typeface="+mj-lt"/>
              </a:rPr>
              <a:t>Success by Design (</a:t>
            </a:r>
            <a:r>
              <a:rPr lang="en-US" sz="1800" err="1">
                <a:solidFill>
                  <a:schemeClr val="accent1"/>
                </a:solidFill>
                <a:latin typeface="+mj-lt"/>
              </a:rPr>
              <a:t>SbD</a:t>
            </a:r>
            <a:r>
              <a:rPr lang="en-US" sz="1800">
                <a:solidFill>
                  <a:schemeClr val="accent1"/>
                </a:solidFill>
                <a:latin typeface="+mj-lt"/>
              </a:rPr>
              <a:t>) </a:t>
            </a:r>
            <a:r>
              <a:rPr lang="en-US" sz="1800"/>
              <a:t>is the prescriptive guidance - approaches &amp; recommended practices - for designing, building and deploying a Dynamics 365 solution.</a:t>
            </a:r>
          </a:p>
          <a:p>
            <a:pPr algn="l">
              <a:lnSpc>
                <a:spcPct val="114000"/>
              </a:lnSpc>
              <a:spcBef>
                <a:spcPts val="2000"/>
              </a:spcBef>
              <a:spcAft>
                <a:spcPts val="600"/>
              </a:spcAft>
            </a:pPr>
            <a:r>
              <a:rPr lang="en-US" sz="1800"/>
              <a:t>It is grounded in fundamentals of good solution architecture and design, product capabilities, and proven approaches to business process transformation and implementation.</a:t>
            </a:r>
          </a:p>
          <a:p>
            <a:pPr>
              <a:lnSpc>
                <a:spcPct val="114000"/>
              </a:lnSpc>
              <a:spcBef>
                <a:spcPts val="2000"/>
              </a:spcBef>
              <a:spcAft>
                <a:spcPts val="600"/>
              </a:spcAft>
            </a:pPr>
            <a:r>
              <a:rPr lang="en-US" sz="1800"/>
              <a:t>Designed around three core principles:</a:t>
            </a:r>
          </a:p>
        </p:txBody>
      </p:sp>
    </p:spTree>
    <p:extLst>
      <p:ext uri="{BB962C8B-B14F-4D97-AF65-F5344CB8AC3E}">
        <p14:creationId xmlns:p14="http://schemas.microsoft.com/office/powerpoint/2010/main" val="18331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B7DD339-5C08-46FC-8731-430C31DC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Role of FastTrack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58C028-4AE4-4BBE-94FB-B9D03D7ED2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3200"/>
              <a:t>In Scop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Review the answers provided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Provide findings and recommendations following the workshop presenta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Provide alternatives to product gaps identifi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Highlight technical and project risks and issues (including unrealistic product expectations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Point out gaps in the solution or project structure that can result in an unsuccessful implement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EF1AD8-8B3A-4133-A284-5E7968D490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Out of Scop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Create a solution architecture based on finding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Decide on solutions that best fit gaps identifi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Code review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Provide training on product features (user or administrative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2000">
                <a:solidFill>
                  <a:schemeClr val="tx1"/>
                </a:solidFill>
              </a:rPr>
              <a:t>Create comparison between ISV solutions</a:t>
            </a:r>
          </a:p>
        </p:txBody>
      </p:sp>
    </p:spTree>
    <p:extLst>
      <p:ext uri="{BB962C8B-B14F-4D97-AF65-F5344CB8AC3E}">
        <p14:creationId xmlns:p14="http://schemas.microsoft.com/office/powerpoint/2010/main" val="21799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B610B21-2ECC-44E0-86AF-D74811AF7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nstructions for Customer and Partn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E4786D-C856-4ED1-AD42-4D6D5704E74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GB" sz="2400"/>
              <a:t>Complete each slide providing the required information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GB" sz="2400"/>
              <a:t>Skip slides that are not applicable to your project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GB" sz="2400"/>
              <a:t>Extend topic area slides to capture the required information if needed. </a:t>
            </a:r>
            <a:br>
              <a:rPr lang="en-GB" sz="2400"/>
            </a:br>
            <a:r>
              <a:rPr lang="en-GB" sz="2400"/>
              <a:t>Do not hesitate to paste your own slides.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GB" sz="2400"/>
              <a:t>Reach out to your FastTrack SA if you have questions on the format or content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GB" sz="2400"/>
              <a:t>Send completed deck back to the FastTrack SA 5 business day before the scheduled Solution Blueprint workshop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ED09A5-A38C-4A4E-B308-A11A4BF5F4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800"/>
              <a:t>How to fill this PowerPoint document</a:t>
            </a:r>
          </a:p>
        </p:txBody>
      </p:sp>
    </p:spTree>
    <p:extLst>
      <p:ext uri="{BB962C8B-B14F-4D97-AF65-F5344CB8AC3E}">
        <p14:creationId xmlns:p14="http://schemas.microsoft.com/office/powerpoint/2010/main" val="130456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FCF57-F2A1-42EE-9165-46846F68A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292662"/>
          </a:xfrm>
        </p:spPr>
        <p:txBody>
          <a:bodyPr/>
          <a:lstStyle/>
          <a:p>
            <a:r>
              <a:rPr lang="en-GB" sz="7200" dirty="0">
                <a:solidFill>
                  <a:schemeClr val="tx1"/>
                </a:solidFill>
              </a:rPr>
              <a:t>Application Strategy</a:t>
            </a:r>
          </a:p>
        </p:txBody>
      </p:sp>
    </p:spTree>
    <p:extLst>
      <p:ext uri="{BB962C8B-B14F-4D97-AF65-F5344CB8AC3E}">
        <p14:creationId xmlns:p14="http://schemas.microsoft.com/office/powerpoint/2010/main" val="77721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5E0C5AD-C4DD-4335-8441-DA90B7284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Strategy - Solution Scope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CD228B8-7DEA-4B7F-A4C6-F26B0D87B57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7BDF86-1474-48B4-92FE-9E81EA196B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974EAC-B0A7-4FAC-8E76-37FCA45D29AC}"/>
              </a:ext>
            </a:extLst>
          </p:cNvPr>
          <p:cNvSpPr/>
          <p:nvPr/>
        </p:nvSpPr>
        <p:spPr bwMode="auto">
          <a:xfrm>
            <a:off x="120466" y="1189177"/>
            <a:ext cx="3922803" cy="34014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in Functional Areas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Sales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Customer Service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Field Service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Project Operations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Marketing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Finance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Commerce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HR</a:t>
            </a:r>
          </a:p>
          <a:p>
            <a:pPr marL="457200" indent="-3683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2000" dirty="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05D725-CFF1-4943-A7B2-85A46D1C560C}"/>
              </a:ext>
            </a:extLst>
          </p:cNvPr>
          <p:cNvSpPr/>
          <p:nvPr/>
        </p:nvSpPr>
        <p:spPr bwMode="auto">
          <a:xfrm>
            <a:off x="4137711" y="1189177"/>
            <a:ext cx="3922803" cy="34014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Phase &amp; Timeline</a:t>
            </a:r>
          </a:p>
          <a:p>
            <a:pPr indent="889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Project start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August 2016</a:t>
            </a:r>
          </a:p>
          <a:p>
            <a:pPr indent="889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Current Project Phase: </a:t>
            </a:r>
            <a:r>
              <a:rPr lang="en-GB" sz="2000">
                <a:solidFill>
                  <a:srgbClr val="FFC000"/>
                </a:solidFill>
                <a:cs typeface="Segoe UI" pitchFamily="34" charset="0"/>
              </a:rPr>
              <a:t>Design</a:t>
            </a:r>
          </a:p>
          <a:p>
            <a:pPr indent="889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Target </a:t>
            </a:r>
            <a:r>
              <a:rPr lang="en-GB" sz="2000" err="1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go-live</a:t>
            </a: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January </a:t>
            </a:r>
            <a:r>
              <a:rPr lang="en-GB" sz="2000">
                <a:solidFill>
                  <a:srgbClr val="FFC000"/>
                </a:solidFill>
                <a:cs typeface="Segoe UI" pitchFamily="34" charset="0"/>
              </a:rPr>
              <a:t>2017</a:t>
            </a:r>
          </a:p>
          <a:p>
            <a:pPr indent="889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Number of users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18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7FE968-492D-412A-AC6E-08DA1791BA51}"/>
              </a:ext>
            </a:extLst>
          </p:cNvPr>
          <p:cNvSpPr/>
          <p:nvPr/>
        </p:nvSpPr>
        <p:spPr bwMode="auto">
          <a:xfrm>
            <a:off x="8154955" y="1189177"/>
            <a:ext cx="3922803" cy="34014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Business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cs typeface="Segoe UI" pitchFamily="34" charset="0"/>
              </a:rPr>
              <a:t>Industry: </a:t>
            </a:r>
            <a:r>
              <a:rPr lang="en-GB" sz="2000">
                <a:solidFill>
                  <a:srgbClr val="FFC000"/>
                </a:solidFill>
                <a:cs typeface="Segoe UI" pitchFamily="34" charset="0"/>
              </a:rPr>
              <a:t>Manufacturing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cs typeface="Segoe UI" pitchFamily="34" charset="0"/>
              </a:rPr>
              <a:t>Business Model: </a:t>
            </a:r>
            <a:r>
              <a:rPr lang="en-GB" sz="2000">
                <a:solidFill>
                  <a:srgbClr val="FFC000"/>
                </a:solidFill>
                <a:cs typeface="Segoe UI" pitchFamily="34" charset="0"/>
              </a:rPr>
              <a:t>B2B vs B2C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Geos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US and Canada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Default Language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EN-US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Default Currency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USD</a:t>
            </a:r>
          </a:p>
          <a:p>
            <a:pPr marL="355600" indent="-266700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Data </a:t>
            </a:r>
            <a:r>
              <a:rPr lang="en-GB" sz="2000" err="1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center</a:t>
            </a:r>
            <a:r>
              <a:rPr lang="en-GB" sz="2000">
                <a:solidFill>
                  <a:srgbClr val="4CCBED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en-GB" sz="2000">
                <a:solidFill>
                  <a:srgbClr val="FFC000"/>
                </a:solidFill>
                <a:ea typeface="Segoe UI" pitchFamily="34" charset="0"/>
                <a:cs typeface="Segoe UI" pitchFamily="34" charset="0"/>
              </a:rPr>
              <a:t>US East</a:t>
            </a:r>
          </a:p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E2FA8B-0670-4F44-BA65-D8AD7D65AB04}"/>
              </a:ext>
            </a:extLst>
          </p:cNvPr>
          <p:cNvSpPr>
            <a:spLocks/>
          </p:cNvSpPr>
          <p:nvPr/>
        </p:nvSpPr>
        <p:spPr bwMode="auto">
          <a:xfrm>
            <a:off x="6193828" y="4662740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6</a:t>
            </a: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pt-BR" sz="2000" spc="-30">
                <a:solidFill>
                  <a:srgbClr val="FFFFFF"/>
                </a:solidFill>
                <a:latin typeface="Segoe UI"/>
              </a:rPr>
              <a:t>Integrations </a:t>
            </a:r>
            <a:r>
              <a:rPr lang="pt-BR" spc="-30">
                <a:solidFill>
                  <a:srgbClr val="FFFFFF"/>
                </a:solidFill>
                <a:latin typeface="Segoe UI"/>
              </a:rPr>
              <a:t>internal</a:t>
            </a:r>
            <a:r>
              <a:rPr kumimoji="0" lang="pt-BR" b="0" i="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/external </a:t>
            </a:r>
            <a:endParaRPr kumimoji="0" lang="pt-BR" sz="2000" b="0" i="0" u="none" strike="noStrike" kern="1200" cap="none" spc="-3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A59889-BFF3-4901-9005-7668C2836C10}"/>
              </a:ext>
            </a:extLst>
          </p:cNvPr>
          <p:cNvSpPr>
            <a:spLocks/>
          </p:cNvSpPr>
          <p:nvPr/>
        </p:nvSpPr>
        <p:spPr bwMode="auto">
          <a:xfrm>
            <a:off x="2144920" y="4662740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9144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2</a:t>
            </a: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o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EEB481-F9F5-4B4E-A42B-18C64CE519CF}"/>
              </a:ext>
            </a:extLst>
          </p:cNvPr>
          <p:cNvSpPr>
            <a:spLocks/>
          </p:cNvSpPr>
          <p:nvPr/>
        </p:nvSpPr>
        <p:spPr bwMode="auto">
          <a:xfrm>
            <a:off x="10242734" y="4662739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9144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6600">
                <a:solidFill>
                  <a:srgbClr val="FFFFFF"/>
                </a:solidFill>
                <a:latin typeface="Segoe UI Light"/>
              </a:rPr>
              <a:t>1</a:t>
            </a: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</a:p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SV solution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78BC59-24A6-4A53-A8B8-B893ED1CC585}"/>
              </a:ext>
            </a:extLst>
          </p:cNvPr>
          <p:cNvSpPr>
            <a:spLocks/>
          </p:cNvSpPr>
          <p:nvPr/>
        </p:nvSpPr>
        <p:spPr bwMode="auto">
          <a:xfrm>
            <a:off x="120466" y="4662739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9144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6600">
                <a:solidFill>
                  <a:srgbClr val="FFFFFF"/>
                </a:solidFill>
                <a:latin typeface="Segoe UI Light"/>
              </a:rPr>
              <a:t>185</a:t>
            </a:r>
            <a:endParaRPr kumimoji="0" lang="en-US" sz="6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tal User Cou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4CD280-F641-4B6C-8BF2-9685BAB9A677}"/>
              </a:ext>
            </a:extLst>
          </p:cNvPr>
          <p:cNvSpPr>
            <a:spLocks/>
          </p:cNvSpPr>
          <p:nvPr/>
        </p:nvSpPr>
        <p:spPr bwMode="auto">
          <a:xfrm>
            <a:off x="8218282" y="4662739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9144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1/4</a:t>
            </a: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tal Tenants/ Environmen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1E3FDCB-55B6-4E47-891E-08767BA06F51}"/>
              </a:ext>
            </a:extLst>
          </p:cNvPr>
          <p:cNvSpPr>
            <a:spLocks/>
          </p:cNvSpPr>
          <p:nvPr/>
        </p:nvSpPr>
        <p:spPr bwMode="auto">
          <a:xfrm>
            <a:off x="4169374" y="4662740"/>
            <a:ext cx="1828800" cy="182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391" rIns="91440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8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3</a:t>
            </a:r>
          </a:p>
          <a:p>
            <a:pPr marL="0" marR="0" lvl="0" indent="0" algn="l" defTabSz="9141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ject Phases</a:t>
            </a:r>
          </a:p>
        </p:txBody>
      </p:sp>
    </p:spTree>
    <p:extLst>
      <p:ext uri="{BB962C8B-B14F-4D97-AF65-F5344CB8AC3E}">
        <p14:creationId xmlns:p14="http://schemas.microsoft.com/office/powerpoint/2010/main" val="221646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1C528-0A2A-4F60-8D4B-F7798F08E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 Strategy</a:t>
            </a:r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4C227072-0306-4DE4-AB09-F73CBA45F1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268979"/>
              </p:ext>
            </p:extLst>
          </p:nvPr>
        </p:nvGraphicFramePr>
        <p:xfrm>
          <a:off x="1624857" y="1190049"/>
          <a:ext cx="8407231" cy="5140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8810">
                  <a:extLst>
                    <a:ext uri="{9D8B030D-6E8A-4147-A177-3AD203B41FA5}">
                      <a16:colId xmlns:a16="http://schemas.microsoft.com/office/drawing/2014/main" val="994572026"/>
                    </a:ext>
                  </a:extLst>
                </a:gridCol>
                <a:gridCol w="2023682">
                  <a:extLst>
                    <a:ext uri="{9D8B030D-6E8A-4147-A177-3AD203B41FA5}">
                      <a16:colId xmlns:a16="http://schemas.microsoft.com/office/drawing/2014/main" val="1924249191"/>
                    </a:ext>
                  </a:extLst>
                </a:gridCol>
                <a:gridCol w="2082927">
                  <a:extLst>
                    <a:ext uri="{9D8B030D-6E8A-4147-A177-3AD203B41FA5}">
                      <a16:colId xmlns:a16="http://schemas.microsoft.com/office/drawing/2014/main" val="1735700336"/>
                    </a:ext>
                  </a:extLst>
                </a:gridCol>
                <a:gridCol w="1255906">
                  <a:extLst>
                    <a:ext uri="{9D8B030D-6E8A-4147-A177-3AD203B41FA5}">
                      <a16:colId xmlns:a16="http://schemas.microsoft.com/office/drawing/2014/main" val="3502027068"/>
                    </a:ext>
                  </a:extLst>
                </a:gridCol>
                <a:gridCol w="1255906">
                  <a:extLst>
                    <a:ext uri="{9D8B030D-6E8A-4147-A177-3AD203B41FA5}">
                      <a16:colId xmlns:a16="http://schemas.microsoft.com/office/drawing/2014/main" val="945609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pps (* = liv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DS/F&amp;O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OB Map or custom m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stimated Go-l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Using trial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844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I/DW/Logic Ap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OOB P2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d/MM/</a:t>
                      </a:r>
                      <a:r>
                        <a:rPr lang="en-US" sz="1200" err="1"/>
                        <a:t>yyyy</a:t>
                      </a:r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/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661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Customer Service (C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64472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Project Service Auto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385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Field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ust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360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Marke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458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Customer Ins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966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Product Ins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9600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Fi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4512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Fraud Pro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78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Human 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024110"/>
                  </a:ext>
                </a:extLst>
              </a:tr>
              <a:tr h="447644">
                <a:tc>
                  <a:txBody>
                    <a:bodyPr/>
                    <a:lstStyle/>
                    <a:p>
                      <a:r>
                        <a:rPr lang="en-US" sz="1200"/>
                        <a:t>Supply Chain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93329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Comme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8536755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B3E4263-F5C1-42ED-B076-69BE846AB535}"/>
              </a:ext>
            </a:extLst>
          </p:cNvPr>
          <p:cNvSpPr txBox="1"/>
          <p:nvPr/>
        </p:nvSpPr>
        <p:spPr>
          <a:xfrm>
            <a:off x="-13443" y="6309956"/>
            <a:ext cx="4874019" cy="517065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* Delete what not applicab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08EDFD-77E1-4379-A0EE-505FA29ACBE2}"/>
              </a:ext>
            </a:extLst>
          </p:cNvPr>
          <p:cNvSpPr txBox="1"/>
          <p:nvPr/>
        </p:nvSpPr>
        <p:spPr>
          <a:xfrm>
            <a:off x="7453638" y="395684"/>
            <a:ext cx="4874019" cy="738664"/>
          </a:xfrm>
          <a:prstGeom prst="rect">
            <a:avLst/>
          </a:prstGeom>
          <a:noFill/>
        </p:spPr>
        <p:txBody>
          <a:bodyPr wrap="square" lIns="182880" tIns="146304" rIns="182880" bIns="146304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* Provide information of what Dynamics 365 Apps will be part of your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10811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OcAhOXGrvDLeCZp9p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Dynamics_NEW_20_Ocean on White">
      <a:dk1>
        <a:srgbClr val="000000"/>
      </a:dk1>
      <a:lt1>
        <a:srgbClr val="FFFFFF"/>
      </a:lt1>
      <a:dk2>
        <a:srgbClr val="0B5569"/>
      </a:dk2>
      <a:lt2>
        <a:srgbClr val="E6E6E6"/>
      </a:lt2>
      <a:accent1>
        <a:srgbClr val="1392B3"/>
      </a:accent1>
      <a:accent2>
        <a:srgbClr val="0B5569"/>
      </a:accent2>
      <a:accent3>
        <a:srgbClr val="4CCBED"/>
      </a:accent3>
      <a:accent4>
        <a:srgbClr val="0078D4"/>
      </a:accent4>
      <a:accent5>
        <a:srgbClr val="243A5E"/>
      </a:accent5>
      <a:accent6>
        <a:srgbClr val="737373"/>
      </a:accent6>
      <a:hlink>
        <a:srgbClr val="1392B3"/>
      </a:hlink>
      <a:folHlink>
        <a:srgbClr val="1392B3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ynamics 365 template ocean accent.potx" id="{BD6D9AFC-A2AA-415A-9CAE-22491A52C56B}" vid="{928B97AA-EDDF-4A70-ACAA-2396BE69F0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3B1A370DB454895F1017B66A82434" ma:contentTypeVersion="15" ma:contentTypeDescription="Create a new document." ma:contentTypeScope="" ma:versionID="eef06004c515176c12416b0fb511e7c4">
  <xsd:schema xmlns:xsd="http://www.w3.org/2001/XMLSchema" xmlns:xs="http://www.w3.org/2001/XMLSchema" xmlns:p="http://schemas.microsoft.com/office/2006/metadata/properties" xmlns:ns1="http://schemas.microsoft.com/sharepoint/v3" xmlns:ns2="8e793c00-403c-4e2e-9f3f-1f9fce3bba0e" xmlns:ns3="21801293-8b26-4deb-98c0-71fc7c1e1877" targetNamespace="http://schemas.microsoft.com/office/2006/metadata/properties" ma:root="true" ma:fieldsID="60551183d560ece34b54a706bc0b5231" ns1:_="" ns2:_="" ns3:_="">
    <xsd:import namespace="http://schemas.microsoft.com/sharepoint/v3"/>
    <xsd:import namespace="8e793c00-403c-4e2e-9f3f-1f9fce3bba0e"/>
    <xsd:import namespace="21801293-8b26-4deb-98c0-71fc7c1e18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93c00-403c-4e2e-9f3f-1f9fce3bba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01293-8b26-4deb-98c0-71fc7c1e18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8e793c00-403c-4e2e-9f3f-1f9fce3bba0e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sharepoint/v3"/>
    <ds:schemaRef ds:uri="21801293-8b26-4deb-98c0-71fc7c1e1877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15F3C93-8FD9-49A8-AA0B-100F6916A1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e793c00-403c-4e2e-9f3f-1f9fce3bba0e"/>
    <ds:schemaRef ds:uri="21801293-8b26-4deb-98c0-71fc7c1e18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WORKSHOPNAME Template - Ocean Blue</Template>
  <TotalTime>7</TotalTime>
  <Words>1526</Words>
  <Application>Microsoft Office PowerPoint</Application>
  <PresentationFormat>Widescreen</PresentationFormat>
  <Paragraphs>244</Paragraphs>
  <Slides>2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Arial</vt:lpstr>
      <vt:lpstr>Calibri</vt:lpstr>
      <vt:lpstr>Courier New</vt:lpstr>
      <vt:lpstr>Segoe Pro Semibold</vt:lpstr>
      <vt:lpstr>Segoe UI</vt:lpstr>
      <vt:lpstr>Segoe UI Light</vt:lpstr>
      <vt:lpstr>Segoe UI Semibold</vt:lpstr>
      <vt:lpstr>Wingdings</vt:lpstr>
      <vt:lpstr>White Template</vt:lpstr>
      <vt:lpstr>think-cell Slide</vt:lpstr>
      <vt:lpstr>Dynamics 365 Dual-Write Implementation Workshop </vt:lpstr>
      <vt:lpstr>Dual-Write Workshop Agenda</vt:lpstr>
      <vt:lpstr>Introductions</vt:lpstr>
      <vt:lpstr>Based on Success by Design</vt:lpstr>
      <vt:lpstr>The Role of FastTrack</vt:lpstr>
      <vt:lpstr>Instructions for Customer and Partner</vt:lpstr>
      <vt:lpstr>Application Strategy</vt:lpstr>
      <vt:lpstr>App Strategy - Solution Scope </vt:lpstr>
      <vt:lpstr>App Strategy</vt:lpstr>
      <vt:lpstr>Business Process Strategy</vt:lpstr>
      <vt:lpstr>Business Process Strategy</vt:lpstr>
      <vt:lpstr>Integration Strategy</vt:lpstr>
      <vt:lpstr>Integration Strategy</vt:lpstr>
      <vt:lpstr>Integration Strategy</vt:lpstr>
      <vt:lpstr>Environment &amp; Capacity Strategy</vt:lpstr>
      <vt:lpstr>Environment Strategy</vt:lpstr>
      <vt:lpstr>Environment Strategy</vt:lpstr>
      <vt:lpstr>Data Strategy</vt:lpstr>
      <vt:lpstr>Data Strategy</vt:lpstr>
      <vt:lpstr>Data Strategy</vt:lpstr>
      <vt:lpstr>Test Strategy</vt:lpstr>
      <vt:lpstr>Test Strategy</vt:lpstr>
      <vt:lpstr>Security Strategy</vt:lpstr>
      <vt:lpstr>Security Strategy</vt:lpstr>
      <vt:lpstr>Gaps &amp; Risks</vt:lpstr>
      <vt:lpstr>Gaps &amp; Risks</vt:lpstr>
      <vt:lpstr>Thank you.</vt:lpstr>
    </vt:vector>
  </TitlesOfParts>
  <Manager>&lt;Comms manager name here&gt;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Track for Dynamics 365 </dc:title>
  <dc:subject>&lt;Event name&gt;</dc:subject>
  <cp:keywords/>
  <dc:description/>
  <cp:revision>4</cp:revision>
  <dcterms:created xsi:type="dcterms:W3CDTF">2021-02-15T12:42:20Z</dcterms:created>
  <dcterms:modified xsi:type="dcterms:W3CDTF">2021-08-24T19:2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3B1A370DB454895F1017B66A8243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SetDate">
    <vt:lpwstr>2017-08-29T14:27:20.8568347-07:00</vt:lpwstr>
  </property>
  <property fmtid="{D5CDD505-2E9C-101B-9397-08002B2CF9AE}" pid="15" name="MSIP_Label_f42aa342-8706-4288-bd11-ebb85995028c_Name">
    <vt:lpwstr>General</vt:lpwstr>
  </property>
  <property fmtid="{D5CDD505-2E9C-101B-9397-08002B2CF9AE}" pid="16" name="MSIP_Label_f42aa342-8706-4288-bd11-ebb85995028c_Extended_MSFT_Method">
    <vt:lpwstr>Automatic</vt:lpwstr>
  </property>
  <property fmtid="{D5CDD505-2E9C-101B-9397-08002B2CF9AE}" pid="17" name="Sensitivity">
    <vt:lpwstr>General</vt:lpwstr>
  </property>
</Properties>
</file>